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4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5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242.xml" ContentType="application/vnd.openxmlformats-officedocument.presentationml.tags+xml"/>
  <Override PartName="/ppt/notesSlides/notesSlide1.xml" ContentType="application/vnd.openxmlformats-officedocument.presentationml.notesSlide+xml"/>
  <Override PartName="/ppt/tags/tag24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5" r:id="rId1"/>
    <p:sldMasterId id="2147483700" r:id="rId2"/>
    <p:sldMasterId id="2147483725" r:id="rId3"/>
    <p:sldMasterId id="2147483750" r:id="rId4"/>
    <p:sldMasterId id="2147483775" r:id="rId5"/>
  </p:sldMasterIdLst>
  <p:notesMasterIdLst>
    <p:notesMasterId r:id="rId45"/>
  </p:notesMasterIdLst>
  <p:handoutMasterIdLst>
    <p:handoutMasterId r:id="rId46"/>
  </p:handoutMasterIdLst>
  <p:sldIdLst>
    <p:sldId id="611" r:id="rId6"/>
    <p:sldId id="559" r:id="rId7"/>
    <p:sldId id="613" r:id="rId8"/>
    <p:sldId id="614" r:id="rId9"/>
    <p:sldId id="615" r:id="rId10"/>
    <p:sldId id="616" r:id="rId11"/>
    <p:sldId id="617" r:id="rId12"/>
    <p:sldId id="511" r:id="rId13"/>
    <p:sldId id="571" r:id="rId14"/>
    <p:sldId id="572" r:id="rId15"/>
    <p:sldId id="573" r:id="rId16"/>
    <p:sldId id="574" r:id="rId17"/>
    <p:sldId id="576" r:id="rId18"/>
    <p:sldId id="578" r:id="rId19"/>
    <p:sldId id="580" r:id="rId20"/>
    <p:sldId id="581" r:id="rId21"/>
    <p:sldId id="582" r:id="rId22"/>
    <p:sldId id="583" r:id="rId23"/>
    <p:sldId id="584" r:id="rId24"/>
    <p:sldId id="585" r:id="rId25"/>
    <p:sldId id="586" r:id="rId26"/>
    <p:sldId id="587" r:id="rId27"/>
    <p:sldId id="588" r:id="rId28"/>
    <p:sldId id="589" r:id="rId29"/>
    <p:sldId id="621" r:id="rId30"/>
    <p:sldId id="590" r:id="rId31"/>
    <p:sldId id="591" r:id="rId32"/>
    <p:sldId id="592" r:id="rId33"/>
    <p:sldId id="622" r:id="rId34"/>
    <p:sldId id="593" r:id="rId35"/>
    <p:sldId id="595" r:id="rId36"/>
    <p:sldId id="596" r:id="rId37"/>
    <p:sldId id="597" r:id="rId38"/>
    <p:sldId id="598" r:id="rId39"/>
    <p:sldId id="619" r:id="rId40"/>
    <p:sldId id="599" r:id="rId41"/>
    <p:sldId id="620" r:id="rId42"/>
    <p:sldId id="612" r:id="rId43"/>
    <p:sldId id="602" r:id="rId44"/>
  </p:sldIdLst>
  <p:sldSz cx="9144000" cy="6858000" type="screen4x3"/>
  <p:notesSz cx="6669088" cy="9926638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0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Quinzee Booysen" initials="QB" lastIdx="3" clrIdx="0"/>
  <p:cmAuthor id="1" name="Cindy-Leigh Gardner" initials="CG" lastIdx="1" clrIdx="1"/>
  <p:cmAuthor id="2" name="Terry Johnston" initials="TJ" lastIdx="1" clrIdx="2">
    <p:extLst>
      <p:ext uri="{19B8F6BF-5375-455C-9EA6-DF929625EA0E}">
        <p15:presenceInfo xmlns:p15="http://schemas.microsoft.com/office/powerpoint/2012/main" userId="S-1-5-21-3528385313-3887411669-492545649-11486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DEF"/>
    <a:srgbClr val="00329B"/>
    <a:srgbClr val="B512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5" autoAdjust="0"/>
    <p:restoredTop sz="94660"/>
  </p:normalViewPr>
  <p:slideViewPr>
    <p:cSldViewPr>
      <p:cViewPr varScale="1">
        <p:scale>
          <a:sx n="72" d="100"/>
          <a:sy n="72" d="100"/>
        </p:scale>
        <p:origin x="1230" y="72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commentAuthors" Target="commentAuthors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1"/>
            <a:ext cx="2889938" cy="496332"/>
          </a:xfrm>
          <a:prstGeom prst="rect">
            <a:avLst/>
          </a:prstGeom>
        </p:spPr>
        <p:txBody>
          <a:bodyPr vert="horz" lIns="92006" tIns="46003" rIns="92006" bIns="46003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13" y="1"/>
            <a:ext cx="2889938" cy="496332"/>
          </a:xfrm>
          <a:prstGeom prst="rect">
            <a:avLst/>
          </a:prstGeom>
        </p:spPr>
        <p:txBody>
          <a:bodyPr vert="horz" lIns="92006" tIns="46003" rIns="92006" bIns="46003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12/11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7" y="9428586"/>
            <a:ext cx="2889938" cy="496332"/>
          </a:xfrm>
          <a:prstGeom prst="rect">
            <a:avLst/>
          </a:prstGeom>
        </p:spPr>
        <p:txBody>
          <a:bodyPr vert="horz" lIns="92006" tIns="46003" rIns="92006" bIns="46003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13" y="9428586"/>
            <a:ext cx="2889938" cy="496332"/>
          </a:xfrm>
          <a:prstGeom prst="rect">
            <a:avLst/>
          </a:prstGeom>
        </p:spPr>
        <p:txBody>
          <a:bodyPr vert="horz" lIns="92006" tIns="46003" rIns="92006" bIns="46003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1"/>
            <a:ext cx="2889938" cy="496332"/>
          </a:xfrm>
          <a:prstGeom prst="rect">
            <a:avLst/>
          </a:prstGeom>
        </p:spPr>
        <p:txBody>
          <a:bodyPr vert="horz" lIns="92006" tIns="46003" rIns="92006" bIns="46003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13" y="1"/>
            <a:ext cx="2889938" cy="496332"/>
          </a:xfrm>
          <a:prstGeom prst="rect">
            <a:avLst/>
          </a:prstGeom>
        </p:spPr>
        <p:txBody>
          <a:bodyPr vert="horz" lIns="92006" tIns="46003" rIns="92006" bIns="46003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18/11/12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55663" y="744538"/>
            <a:ext cx="4957762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06" tIns="46003" rIns="92006" bIns="46003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156"/>
            <a:ext cx="5335270" cy="4466987"/>
          </a:xfrm>
          <a:prstGeom prst="rect">
            <a:avLst/>
          </a:prstGeom>
        </p:spPr>
        <p:txBody>
          <a:bodyPr vert="horz" lIns="92006" tIns="46003" rIns="92006" bIns="4600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9428586"/>
            <a:ext cx="2889938" cy="496332"/>
          </a:xfrm>
          <a:prstGeom prst="rect">
            <a:avLst/>
          </a:prstGeom>
        </p:spPr>
        <p:txBody>
          <a:bodyPr vert="horz" lIns="92006" tIns="46003" rIns="92006" bIns="46003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13" y="9428586"/>
            <a:ext cx="2889938" cy="496332"/>
          </a:xfrm>
          <a:prstGeom prst="rect">
            <a:avLst/>
          </a:prstGeom>
        </p:spPr>
        <p:txBody>
          <a:bodyPr vert="horz" lIns="92006" tIns="46003" rIns="92006" bIns="46003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3028">
              <a:defRPr/>
            </a:pPr>
            <a:fld id="{05E2897E-B052-44CE-92A6-D4B2AB10F3F6}" type="slidenum">
              <a:rPr lang="en-ZA" sz="1800" kern="0">
                <a:solidFill>
                  <a:prstClr val="black"/>
                </a:solidFill>
              </a:rPr>
              <a:pPr defTabSz="913028">
                <a:defRPr/>
              </a:pPr>
              <a:t>1</a:t>
            </a:fld>
            <a:endParaRPr lang="en-ZA" sz="1800" kern="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880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07998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83150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066014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603679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922547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6.xml"/><Relationship Id="rId1" Type="http://schemas.openxmlformats.org/officeDocument/2006/relationships/tags" Target="../tags/tag20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8.xml"/><Relationship Id="rId1" Type="http://schemas.openxmlformats.org/officeDocument/2006/relationships/tags" Target="../tags/tag207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0.xml"/><Relationship Id="rId1" Type="http://schemas.openxmlformats.org/officeDocument/2006/relationships/tags" Target="../tags/tag20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2.xml"/><Relationship Id="rId1" Type="http://schemas.openxmlformats.org/officeDocument/2006/relationships/tags" Target="../tags/tag21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8.xml"/><Relationship Id="rId1" Type="http://schemas.openxmlformats.org/officeDocument/2006/relationships/tags" Target="../tags/tag21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0.xml"/><Relationship Id="rId1" Type="http://schemas.openxmlformats.org/officeDocument/2006/relationships/tags" Target="../tags/tag21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2.xml"/><Relationship Id="rId1" Type="http://schemas.openxmlformats.org/officeDocument/2006/relationships/tags" Target="../tags/tag22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4.xml"/><Relationship Id="rId1" Type="http://schemas.openxmlformats.org/officeDocument/2006/relationships/tags" Target="../tags/tag22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28.xml"/><Relationship Id="rId1" Type="http://schemas.openxmlformats.org/officeDocument/2006/relationships/tags" Target="../tags/tag22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0.xml"/><Relationship Id="rId1" Type="http://schemas.openxmlformats.org/officeDocument/2006/relationships/tags" Target="../tags/tag22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2.xml"/><Relationship Id="rId1" Type="http://schemas.openxmlformats.org/officeDocument/2006/relationships/tags" Target="../tags/tag231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4.xml"/><Relationship Id="rId1" Type="http://schemas.openxmlformats.org/officeDocument/2006/relationships/tags" Target="../tags/tag23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6.xml"/><Relationship Id="rId1" Type="http://schemas.openxmlformats.org/officeDocument/2006/relationships/tags" Target="../tags/tag23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38.xml"/><Relationship Id="rId1" Type="http://schemas.openxmlformats.org/officeDocument/2006/relationships/tags" Target="../tags/tag23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0.xml"/><Relationship Id="rId1" Type="http://schemas.openxmlformats.org/officeDocument/2006/relationships/tags" Target="../tags/tag239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1.xml"/><Relationship Id="rId4" Type="http://schemas.openxmlformats.org/officeDocument/2006/relationships/image" Target="../media/image9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4.xml"/><Relationship Id="rId1" Type="http://schemas.openxmlformats.org/officeDocument/2006/relationships/tags" Target="../tags/tag14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5.xml"/><Relationship Id="rId4" Type="http://schemas.openxmlformats.org/officeDocument/2006/relationships/image" Target="../media/image9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4.xml"/><Relationship Id="rId1" Type="http://schemas.openxmlformats.org/officeDocument/2006/relationships/tags" Target="../tags/tag18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6.xml"/><Relationship Id="rId1" Type="http://schemas.openxmlformats.org/officeDocument/2006/relationships/tags" Target="../tags/tag18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0.xml"/><Relationship Id="rId1" Type="http://schemas.openxmlformats.org/officeDocument/2006/relationships/tags" Target="../tags/tag18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92.xml"/><Relationship Id="rId1" Type="http://schemas.openxmlformats.org/officeDocument/2006/relationships/tags" Target="../tags/tag19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3.xml"/><Relationship Id="rId4" Type="http://schemas.openxmlformats.org/officeDocument/2006/relationships/image" Target="../media/image9.png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77128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888760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26116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9520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258756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84141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32527313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517621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08105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279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02006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921694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8166478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85343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187989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1164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919460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58907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515619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58504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5331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35337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3983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3393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8306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49925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188891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2021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747113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81566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5222051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23225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9286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33036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3003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6057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70817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31016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63116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11442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19163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65222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4851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6553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0862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39130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874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4828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910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2892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610280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2273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50012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64101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0686308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5224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47029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03298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11289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9038081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69905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34988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128001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63497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338755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8528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0854439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09479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8861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613748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31039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653536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5124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74092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495129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8091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879005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41125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7646964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81212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949800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915562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347779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481751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871043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6920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19621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788615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44777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92858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708444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Provincial Government\WCG - Logo - Provincial Treasury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794" y="1912199"/>
            <a:ext cx="2492468" cy="702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769102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7411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Provincial Government\WCG - Logo - Provincial Treasury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17" y="420713"/>
            <a:ext cx="5424968" cy="1532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41238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153698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60324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tags" Target="../tags/tag8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2.vml"/><Relationship Id="rId21" Type="http://schemas.openxmlformats.org/officeDocument/2006/relationships/slideLayout" Target="../slideLayouts/slideLayout45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33" Type="http://schemas.openxmlformats.org/officeDocument/2006/relationships/tags" Target="../tags/tag56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52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5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51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50.xml"/><Relationship Id="rId30" Type="http://schemas.openxmlformats.org/officeDocument/2006/relationships/tags" Target="../tags/tag53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vmlDrawing" Target="../drawings/vmlDrawing3.vml"/><Relationship Id="rId21" Type="http://schemas.openxmlformats.org/officeDocument/2006/relationships/slideLayout" Target="../slideLayouts/slideLayout69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theme" Target="../theme/theme3.xml"/><Relationship Id="rId33" Type="http://schemas.openxmlformats.org/officeDocument/2006/relationships/tags" Target="../tags/tag104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tags" Target="../tags/tag10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tags" Target="../tags/tag103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tags" Target="../tags/tag99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tags" Target="../tags/tag102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ags" Target="../tags/tag98.xml"/><Relationship Id="rId30" Type="http://schemas.openxmlformats.org/officeDocument/2006/relationships/tags" Target="../tags/tag101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vmlDrawing" Target="../drawings/vmlDrawing4.vml"/><Relationship Id="rId21" Type="http://schemas.openxmlformats.org/officeDocument/2006/relationships/slideLayout" Target="../slideLayouts/slideLayout93.xml"/><Relationship Id="rId34" Type="http://schemas.openxmlformats.org/officeDocument/2006/relationships/oleObject" Target="../embeddings/oleObject4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heme" Target="../theme/theme4.xml"/><Relationship Id="rId33" Type="http://schemas.openxmlformats.org/officeDocument/2006/relationships/tags" Target="../tags/tag152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tags" Target="../tags/tag148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tags" Target="../tags/tag151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tags" Target="../tags/tag147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tags" Target="../tags/tag150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tags" Target="../tags/tag146.xml"/><Relationship Id="rId30" Type="http://schemas.openxmlformats.org/officeDocument/2006/relationships/tags" Target="../tags/tag149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vmlDrawing" Target="../drawings/vmlDrawing5.vml"/><Relationship Id="rId21" Type="http://schemas.openxmlformats.org/officeDocument/2006/relationships/slideLayout" Target="../slideLayouts/slideLayout117.xml"/><Relationship Id="rId34" Type="http://schemas.openxmlformats.org/officeDocument/2006/relationships/oleObject" Target="../embeddings/oleObject5.bin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theme" Target="../theme/theme5.xml"/><Relationship Id="rId33" Type="http://schemas.openxmlformats.org/officeDocument/2006/relationships/tags" Target="../tags/tag200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tags" Target="../tags/tag196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tags" Target="../tags/tag199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tags" Target="../tags/tag195.x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tags" Target="../tags/tag19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tags" Target="../tags/tag194.xml"/><Relationship Id="rId30" Type="http://schemas.openxmlformats.org/officeDocument/2006/relationships/tags" Target="../tags/tag197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SCOF PROVINCIAL TREASURY 1st QPR 2018/19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71062634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8215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5839521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050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86473137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0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8756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5830380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4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>
                <a:solidFill>
                  <a:srgbClr val="998F86"/>
                </a:solidFill>
              </a:rPr>
              <a:t>SCOF PROVINCIAL TREASURY 1st QPR 2018/19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4" name="Picture 116" descr="C:\Users\Conny\Desktop\WCG\WCG - Logo\PNG\Logos blue\Provincial Government\WCG - Logo - Provincial Government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6902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2" Type="http://schemas.openxmlformats.org/officeDocument/2006/relationships/tags" Target="../tags/tag254.xml"/><Relationship Id="rId1" Type="http://schemas.openxmlformats.org/officeDocument/2006/relationships/tags" Target="../tags/tag253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63.xml"/><Relationship Id="rId1" Type="http://schemas.openxmlformats.org/officeDocument/2006/relationships/tags" Target="../tags/tag26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67.xml"/><Relationship Id="rId1" Type="http://schemas.openxmlformats.org/officeDocument/2006/relationships/tags" Target="../tags/tag26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1.xml"/><Relationship Id="rId1" Type="http://schemas.openxmlformats.org/officeDocument/2006/relationships/tags" Target="../tags/tag27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4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3.xml"/><Relationship Id="rId1" Type="http://schemas.openxmlformats.org/officeDocument/2006/relationships/tags" Target="../tags/tag27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5.xml"/><Relationship Id="rId1" Type="http://schemas.openxmlformats.org/officeDocument/2006/relationships/tags" Target="../tags/tag27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7.xml"/><Relationship Id="rId1" Type="http://schemas.openxmlformats.org/officeDocument/2006/relationships/tags" Target="../tags/tag27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79.xml"/><Relationship Id="rId1" Type="http://schemas.openxmlformats.org/officeDocument/2006/relationships/tags" Target="../tags/tag27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3.xml"/><Relationship Id="rId1" Type="http://schemas.openxmlformats.org/officeDocument/2006/relationships/tags" Target="../tags/tag28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5.xml"/><Relationship Id="rId1" Type="http://schemas.openxmlformats.org/officeDocument/2006/relationships/tags" Target="../tags/tag28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7.xml"/><Relationship Id="rId1" Type="http://schemas.openxmlformats.org/officeDocument/2006/relationships/tags" Target="../tags/tag28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89.xml"/><Relationship Id="rId1" Type="http://schemas.openxmlformats.org/officeDocument/2006/relationships/tags" Target="../tags/tag28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1.xml"/><Relationship Id="rId1" Type="http://schemas.openxmlformats.org/officeDocument/2006/relationships/tags" Target="../tags/tag29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3.xml"/><Relationship Id="rId1" Type="http://schemas.openxmlformats.org/officeDocument/2006/relationships/tags" Target="../tags/tag29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5.xml"/><Relationship Id="rId1" Type="http://schemas.openxmlformats.org/officeDocument/2006/relationships/tags" Target="../tags/tag29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7.xml"/><Relationship Id="rId1" Type="http://schemas.openxmlformats.org/officeDocument/2006/relationships/tags" Target="../tags/tag296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9.xml"/><Relationship Id="rId1" Type="http://schemas.openxmlformats.org/officeDocument/2006/relationships/tags" Target="../tags/tag29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1.xml"/><Relationship Id="rId1" Type="http://schemas.openxmlformats.org/officeDocument/2006/relationships/tags" Target="../tags/tag30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3.xml"/><Relationship Id="rId1" Type="http://schemas.openxmlformats.org/officeDocument/2006/relationships/tags" Target="../tags/tag30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5.xml"/><Relationship Id="rId1" Type="http://schemas.openxmlformats.org/officeDocument/2006/relationships/tags" Target="../tags/tag30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07.xml"/><Relationship Id="rId1" Type="http://schemas.openxmlformats.org/officeDocument/2006/relationships/tags" Target="../tags/tag30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0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0.xml"/><Relationship Id="rId1" Type="http://schemas.openxmlformats.org/officeDocument/2006/relationships/tags" Target="../tags/tag24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7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5" Type="http://schemas.openxmlformats.org/officeDocument/2006/relationships/image" Target="../media/image4.png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Cape Town 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405336" y="5398044"/>
            <a:ext cx="1944216" cy="365125"/>
          </a:xfrm>
        </p:spPr>
        <p:txBody>
          <a:bodyPr>
            <a:normAutofit/>
          </a:bodyPr>
          <a:lstStyle/>
          <a:p>
            <a:r>
              <a:rPr lang="en-GB" sz="1400" dirty="0"/>
              <a:t>R Julie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3252740"/>
            <a:ext cx="8208912" cy="474713"/>
          </a:xfrm>
        </p:spPr>
        <p:txBody>
          <a:bodyPr>
            <a:normAutofit fontScale="90000"/>
          </a:bodyPr>
          <a:lstStyle/>
          <a:p>
            <a:br>
              <a:rPr lang="en-ZA" sz="2800" dirty="0">
                <a:latin typeface="Century Gothic"/>
                <a:cs typeface="Century Gothic"/>
              </a:rPr>
            </a:br>
            <a:br>
              <a:rPr lang="en-ZA" sz="2800" dirty="0">
                <a:latin typeface="Century Gothic"/>
                <a:cs typeface="Century Gothic"/>
              </a:rPr>
            </a:br>
            <a:br>
              <a:rPr lang="en-ZA" sz="2800" dirty="0">
                <a:latin typeface="Century Gothic"/>
                <a:cs typeface="Century Gothic"/>
              </a:rPr>
            </a:br>
            <a:br>
              <a:rPr lang="en-ZA" sz="2800" dirty="0">
                <a:latin typeface="Century Gothic"/>
                <a:cs typeface="Century Gothic"/>
              </a:rPr>
            </a:br>
            <a:r>
              <a:rPr lang="en-ZA" sz="2800" dirty="0">
                <a:latin typeface="Century Gothic"/>
                <a:cs typeface="Century Gothic"/>
              </a:rPr>
              <a:t>2</a:t>
            </a:r>
            <a:r>
              <a:rPr lang="en-ZA" sz="2800" baseline="30000" dirty="0">
                <a:latin typeface="Century Gothic"/>
                <a:cs typeface="Century Gothic"/>
              </a:rPr>
              <a:t>nd</a:t>
            </a:r>
            <a:r>
              <a:rPr lang="en-ZA" sz="2800" dirty="0">
                <a:latin typeface="Century Gothic"/>
                <a:cs typeface="Century Gothic"/>
              </a:rPr>
              <a:t>  Quarter performance report</a:t>
            </a:r>
            <a:endParaRPr lang="en-GB" dirty="0"/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467544" y="4114800"/>
            <a:ext cx="8208912" cy="508552"/>
          </a:xfrm>
        </p:spPr>
        <p:txBody>
          <a:bodyPr>
            <a:normAutofit/>
          </a:bodyPr>
          <a:lstStyle/>
          <a:p>
            <a:r>
              <a:rPr lang="en-GB" dirty="0"/>
              <a:t> Provincial Treasur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849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257181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1403648" y="6165304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800" b="0" i="0" u="none" strike="noStrike" cap="none" normalizeH="0" baseline="0" dirty="0" bmk="_Toc325015721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ea typeface="Times New Roman" pitchFamily="18" charset="0"/>
                <a:cs typeface="Times New Roman" pitchFamily="18" charset="0"/>
              </a:rPr>
              <a:t>Key: Between 0 – 49 % delivery = Red; 50% – 79% delivery = Yellow; 80-100 % delivery = Green</a:t>
            </a: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3B8E72-6DCE-4DC0-9067-BDDD5E5142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7624" y="1085850"/>
            <a:ext cx="6696744" cy="4863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864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25" name="AutoShape 36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295275" y="188640"/>
            <a:ext cx="8597205" cy="551592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>
            <a:normAutofit fontScale="90000"/>
          </a:bodyPr>
          <a:lstStyle/>
          <a:p>
            <a:pPr>
              <a:spcBef>
                <a:spcPts val="1800"/>
              </a:spcBef>
              <a:spcAft>
                <a:spcPct val="0"/>
              </a:spcAft>
            </a:pPr>
            <a:br>
              <a:rPr lang="en-ZA" sz="2600" dirty="0">
                <a:solidFill>
                  <a:schemeClr val="bg1"/>
                </a:solidFill>
              </a:rPr>
            </a:br>
            <a:r>
              <a:rPr lang="en-ZA" sz="2600" dirty="0">
                <a:solidFill>
                  <a:schemeClr val="bg1"/>
                </a:solidFill>
              </a:rPr>
              <a:t>PROGRAMME 1 PERFORMANCE  -  </a:t>
            </a:r>
            <a:r>
              <a:rPr lang="en-GB" sz="2000" dirty="0">
                <a:solidFill>
                  <a:schemeClr val="bg1"/>
                </a:solidFill>
              </a:rPr>
              <a:t>ADMINISTRATION</a:t>
            </a:r>
            <a:br>
              <a:rPr lang="en-GB" sz="3600" dirty="0">
                <a:solidFill>
                  <a:schemeClr val="bg1"/>
                </a:solidFill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</a:br>
            <a:endParaRPr lang="en-GB" sz="2600" b="1" dirty="0">
              <a:solidFill>
                <a:schemeClr val="bg1"/>
              </a:solidFill>
            </a:endParaRP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1279418" y="2636912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Administration achieved 6 of the 7    1</a:t>
            </a:r>
            <a:r>
              <a:rPr lang="en-US" sz="1400" b="1" baseline="30000" dirty="0">
                <a:solidFill>
                  <a:prstClr val="black"/>
                </a:solidFill>
                <a:latin typeface="Century Gothic" pitchFamily="34" charset="0"/>
              </a:rPr>
              <a:t>st</a:t>
            </a: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  quarter planned targets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1" name="Text Placeholder 5"/>
          <p:cNvSpPr txBox="1">
            <a:spLocks/>
          </p:cNvSpPr>
          <p:nvPr/>
        </p:nvSpPr>
        <p:spPr>
          <a:xfrm>
            <a:off x="1211513" y="3933056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878504" y="5085184"/>
            <a:ext cx="6069760" cy="1224136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US" sz="1200" dirty="0">
              <a:solidFill>
                <a:srgbClr val="FF0000"/>
              </a:solidFill>
              <a:latin typeface="Century Gothic" pitchFamily="34" charset="0"/>
            </a:endParaRPr>
          </a:p>
        </p:txBody>
      </p:sp>
      <p:sp>
        <p:nvSpPr>
          <p:cNvPr id="24" name="Text Placeholder 5"/>
          <p:cNvSpPr txBox="1">
            <a:spLocks/>
          </p:cNvSpPr>
          <p:nvPr/>
        </p:nvSpPr>
        <p:spPr>
          <a:xfrm>
            <a:off x="479539" y="5754286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67544" y="1196752"/>
            <a:ext cx="8280920" cy="106953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878504" y="1273468"/>
            <a:ext cx="2260701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1220738" y="1703572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Administration achieved eight (8) of the eight (8) 2</a:t>
            </a:r>
            <a:r>
              <a:rPr lang="en-US" sz="1400" b="1" baseline="30000" dirty="0">
                <a:solidFill>
                  <a:prstClr val="black"/>
                </a:solidFill>
                <a:latin typeface="Century Gothic" pitchFamily="34" charset="0"/>
              </a:rPr>
              <a:t>nd</a:t>
            </a: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 quarter planned targets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460795" y="2431333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878504" y="2518634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PARTIAL 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8" name="Text Placeholder 5"/>
          <p:cNvSpPr txBox="1">
            <a:spLocks/>
          </p:cNvSpPr>
          <p:nvPr/>
        </p:nvSpPr>
        <p:spPr>
          <a:xfrm>
            <a:off x="1211513" y="3007397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479539" y="3722699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30" name="Text Placeholder 5"/>
          <p:cNvSpPr txBox="1">
            <a:spLocks/>
          </p:cNvSpPr>
          <p:nvPr/>
        </p:nvSpPr>
        <p:spPr>
          <a:xfrm>
            <a:off x="878504" y="3799485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NON 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31" name="Text Placeholder 5"/>
          <p:cNvSpPr txBox="1">
            <a:spLocks/>
          </p:cNvSpPr>
          <p:nvPr/>
        </p:nvSpPr>
        <p:spPr>
          <a:xfrm>
            <a:off x="1211513" y="4288248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sp>
        <p:nvSpPr>
          <p:cNvPr id="20" name="Rounded Rectangle 19"/>
          <p:cNvSpPr/>
          <p:nvPr/>
        </p:nvSpPr>
        <p:spPr>
          <a:xfrm>
            <a:off x="518568" y="5015564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b="1" dirty="0">
                <a:solidFill>
                  <a:prstClr val="black"/>
                </a:solidFill>
                <a:latin typeface="Century Gothic" pitchFamily="34" charset="0"/>
              </a:rPr>
              <a:t>BUDGET EXPENDITURE</a:t>
            </a:r>
            <a:endParaRPr lang="en-US" sz="1200" dirty="0">
              <a:solidFill>
                <a:prstClr val="black"/>
              </a:solidFill>
              <a:latin typeface="Century Gothic" pitchFamily="34" charset="0"/>
            </a:endParaRPr>
          </a:p>
          <a:p>
            <a:pPr marL="817200" lvl="3" indent="-180000">
              <a:spcBef>
                <a:spcPts val="300"/>
              </a:spcBef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srgbClr val="FF0000"/>
                </a:solidFill>
                <a:latin typeface="Century Gothic" pitchFamily="34" charset="0"/>
              </a:rPr>
              <a:t> </a:t>
            </a:r>
            <a:r>
              <a:rPr lang="en-US" sz="1400" b="1" dirty="0">
                <a:solidFill>
                  <a:schemeClr val="tx1"/>
                </a:solidFill>
                <a:latin typeface="Century Gothic" pitchFamily="34" charset="0"/>
              </a:rPr>
              <a:t>43% of the budget was spent for the period April – September 201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8901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anim calcmode="discrete" valueType="str">
                                      <p:cBhvr override="childStyle">
                                        <p:cTn id="6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2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7" grpId="0"/>
      <p:bldP spid="27" grpId="0"/>
      <p:bldP spid="3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25" name="AutoShape 36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295275" y="188640"/>
            <a:ext cx="8764602" cy="551592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>
            <a:normAutofit fontScale="90000"/>
          </a:bodyPr>
          <a:lstStyle/>
          <a:p>
            <a:pPr>
              <a:spcBef>
                <a:spcPts val="1800"/>
              </a:spcBef>
              <a:spcAft>
                <a:spcPct val="0"/>
              </a:spcAft>
            </a:pPr>
            <a:br>
              <a:rPr lang="en-ZA" sz="2600" dirty="0">
                <a:solidFill>
                  <a:schemeClr val="bg1"/>
                </a:solidFill>
              </a:rPr>
            </a:br>
            <a:r>
              <a:rPr lang="en-ZA" sz="2600" dirty="0">
                <a:solidFill>
                  <a:schemeClr val="bg1"/>
                </a:solidFill>
              </a:rPr>
              <a:t>PROGRAMME 2 PERFORMANCE - </a:t>
            </a:r>
            <a:r>
              <a:rPr lang="en-GB" sz="2000" dirty="0">
                <a:solidFill>
                  <a:schemeClr val="bg1"/>
                </a:solidFill>
              </a:rPr>
              <a:t>SUSTAINABLE RESOURCE MANAGENT</a:t>
            </a:r>
            <a:br>
              <a:rPr lang="en-GB" sz="3600" dirty="0">
                <a:solidFill>
                  <a:schemeClr val="bg1"/>
                </a:solidFill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</a:br>
            <a:endParaRPr lang="en-GB" sz="2600" b="1" dirty="0">
              <a:solidFill>
                <a:schemeClr val="bg1"/>
              </a:solidFill>
            </a:endParaRP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1279418" y="2636912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Administration achieved 6 of the 7    1</a:t>
            </a:r>
            <a:r>
              <a:rPr lang="en-US" sz="1400" b="1" baseline="30000" dirty="0">
                <a:solidFill>
                  <a:prstClr val="black"/>
                </a:solidFill>
                <a:latin typeface="Century Gothic" pitchFamily="34" charset="0"/>
              </a:rPr>
              <a:t>st</a:t>
            </a: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  quarter planned targets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1" name="Text Placeholder 5"/>
          <p:cNvSpPr txBox="1">
            <a:spLocks/>
          </p:cNvSpPr>
          <p:nvPr/>
        </p:nvSpPr>
        <p:spPr>
          <a:xfrm>
            <a:off x="1211513" y="3933056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878504" y="5085184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US" sz="1200" dirty="0">
              <a:solidFill>
                <a:prstClr val="black"/>
              </a:solidFill>
              <a:latin typeface="Century Gothic" pitchFamily="34" charset="0"/>
            </a:endParaRPr>
          </a:p>
        </p:txBody>
      </p:sp>
      <p:sp>
        <p:nvSpPr>
          <p:cNvPr id="24" name="Text Placeholder 5"/>
          <p:cNvSpPr txBox="1">
            <a:spLocks/>
          </p:cNvSpPr>
          <p:nvPr/>
        </p:nvSpPr>
        <p:spPr>
          <a:xfrm>
            <a:off x="683568" y="5472064"/>
            <a:ext cx="7848872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67544" y="1196752"/>
            <a:ext cx="8280920" cy="106953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878504" y="1273468"/>
            <a:ext cx="2260701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1279418" y="1711253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Sustainable Resource Management achieved fifteen (15)  of the seventeen  (17)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2</a:t>
            </a:r>
            <a:r>
              <a:rPr lang="en-US" sz="1400" b="1" baseline="30000" dirty="0">
                <a:solidFill>
                  <a:prstClr val="black"/>
                </a:solidFill>
                <a:latin typeface="Century Gothic" pitchFamily="34" charset="0"/>
              </a:rPr>
              <a:t>nd</a:t>
            </a: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 quarter planned targets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460795" y="2431333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878504" y="2518634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PARTIAL 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8" name="Text Placeholder 5"/>
          <p:cNvSpPr txBox="1">
            <a:spLocks/>
          </p:cNvSpPr>
          <p:nvPr/>
        </p:nvSpPr>
        <p:spPr>
          <a:xfrm>
            <a:off x="1211513" y="3007397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Two (2)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479539" y="3722699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30" name="Text Placeholder 5"/>
          <p:cNvSpPr txBox="1">
            <a:spLocks/>
          </p:cNvSpPr>
          <p:nvPr/>
        </p:nvSpPr>
        <p:spPr>
          <a:xfrm>
            <a:off x="878504" y="3799485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NON 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31" name="Text Placeholder 5"/>
          <p:cNvSpPr txBox="1">
            <a:spLocks/>
          </p:cNvSpPr>
          <p:nvPr/>
        </p:nvSpPr>
        <p:spPr>
          <a:xfrm>
            <a:off x="1211513" y="4288248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sp>
        <p:nvSpPr>
          <p:cNvPr id="20" name="Rounded Rectangle 19"/>
          <p:cNvSpPr/>
          <p:nvPr/>
        </p:nvSpPr>
        <p:spPr>
          <a:xfrm>
            <a:off x="518568" y="5015564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b="1" dirty="0">
                <a:solidFill>
                  <a:prstClr val="black"/>
                </a:solidFill>
                <a:latin typeface="Century Gothic" pitchFamily="34" charset="0"/>
              </a:rPr>
              <a:t>BUDGET EXPENDITURE</a:t>
            </a:r>
            <a:endParaRPr lang="en-US" sz="1200" dirty="0">
              <a:solidFill>
                <a:prstClr val="black"/>
              </a:solidFill>
              <a:latin typeface="Century Gothic" pitchFamily="34" charset="0"/>
            </a:endParaRPr>
          </a:p>
          <a:p>
            <a:pPr marL="817200" lvl="3" indent="-180000">
              <a:spcBef>
                <a:spcPts val="300"/>
              </a:spcBef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schemeClr val="tx1"/>
                </a:solidFill>
                <a:latin typeface="Century Gothic" pitchFamily="34" charset="0"/>
              </a:rPr>
              <a:t>     32% of the budget was spent for the period April – September 201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5690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mph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anim calcmode="discrete" valueType="str">
                                      <p:cBhvr override="childStyle">
                                        <p:cTn id="6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2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7" grpId="0"/>
      <p:bldP spid="27" grpId="0"/>
      <p:bldP spid="3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25" name="AutoShape 36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295275" y="188640"/>
            <a:ext cx="8764602" cy="551592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>
            <a:normAutofit fontScale="90000"/>
          </a:bodyPr>
          <a:lstStyle/>
          <a:p>
            <a:pPr>
              <a:spcBef>
                <a:spcPts val="1800"/>
              </a:spcBef>
              <a:spcAft>
                <a:spcPct val="0"/>
              </a:spcAft>
            </a:pPr>
            <a:br>
              <a:rPr lang="en-ZA" sz="2600" dirty="0">
                <a:solidFill>
                  <a:schemeClr val="bg1"/>
                </a:solidFill>
              </a:rPr>
            </a:br>
            <a:r>
              <a:rPr lang="en-ZA" sz="2600" dirty="0">
                <a:solidFill>
                  <a:schemeClr val="bg1"/>
                </a:solidFill>
              </a:rPr>
              <a:t>PROGRAMME 3 PERFORMANCE – </a:t>
            </a:r>
            <a:r>
              <a:rPr lang="en-GB" sz="2000" dirty="0">
                <a:solidFill>
                  <a:schemeClr val="bg1"/>
                </a:solidFill>
              </a:rPr>
              <a:t>Asset Management</a:t>
            </a:r>
            <a:br>
              <a:rPr lang="en-GB" sz="3600" dirty="0">
                <a:solidFill>
                  <a:schemeClr val="bg1"/>
                </a:solidFill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</a:br>
            <a:endParaRPr lang="en-GB" sz="2600" b="1" dirty="0">
              <a:solidFill>
                <a:schemeClr val="bg1"/>
              </a:solidFill>
            </a:endParaRP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1279418" y="2636912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Administration achieved 6 of the 7    1</a:t>
            </a:r>
            <a:r>
              <a:rPr lang="en-US" sz="1400" b="1" baseline="30000" dirty="0">
                <a:solidFill>
                  <a:prstClr val="black"/>
                </a:solidFill>
                <a:latin typeface="Century Gothic" pitchFamily="34" charset="0"/>
              </a:rPr>
              <a:t>st</a:t>
            </a: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  quarter planned targets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1" name="Text Placeholder 5"/>
          <p:cNvSpPr txBox="1">
            <a:spLocks/>
          </p:cNvSpPr>
          <p:nvPr/>
        </p:nvSpPr>
        <p:spPr>
          <a:xfrm>
            <a:off x="1211513" y="3933056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856048" y="5085184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67544" y="1196752"/>
            <a:ext cx="8280920" cy="106953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878504" y="1273468"/>
            <a:ext cx="2260701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1279418" y="1711253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latin typeface="Century Gothic" pitchFamily="34" charset="0"/>
              </a:rPr>
              <a:t>Asset Management achieved twelve (12) of the twelve (12) 2</a:t>
            </a:r>
            <a:r>
              <a:rPr lang="en-US" sz="1400" b="1" baseline="30000" dirty="0">
                <a:latin typeface="Century Gothic" pitchFamily="34" charset="0"/>
              </a:rPr>
              <a:t>nd</a:t>
            </a:r>
            <a:r>
              <a:rPr lang="en-US" sz="1400" b="1" dirty="0">
                <a:latin typeface="Century Gothic" pitchFamily="34" charset="0"/>
              </a:rPr>
              <a:t> quarter planned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targets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460795" y="2431333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878504" y="2518634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PARTIAL 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8" name="Text Placeholder 5"/>
          <p:cNvSpPr txBox="1">
            <a:spLocks/>
          </p:cNvSpPr>
          <p:nvPr/>
        </p:nvSpPr>
        <p:spPr>
          <a:xfrm>
            <a:off x="900100" y="2945904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3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2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479539" y="3722699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30" name="Text Placeholder 5"/>
          <p:cNvSpPr txBox="1">
            <a:spLocks/>
          </p:cNvSpPr>
          <p:nvPr/>
        </p:nvSpPr>
        <p:spPr>
          <a:xfrm>
            <a:off x="878504" y="3799485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NON 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31" name="Text Placeholder 5"/>
          <p:cNvSpPr txBox="1">
            <a:spLocks/>
          </p:cNvSpPr>
          <p:nvPr/>
        </p:nvSpPr>
        <p:spPr>
          <a:xfrm>
            <a:off x="1043340" y="4270885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2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sp>
        <p:nvSpPr>
          <p:cNvPr id="20" name="Rounded Rectangle 19"/>
          <p:cNvSpPr/>
          <p:nvPr/>
        </p:nvSpPr>
        <p:spPr>
          <a:xfrm>
            <a:off x="518568" y="5015564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b="1" dirty="0">
                <a:solidFill>
                  <a:prstClr val="black"/>
                </a:solidFill>
                <a:latin typeface="Century Gothic" pitchFamily="34" charset="0"/>
              </a:rPr>
              <a:t>BUDGET EXPENDITURE</a:t>
            </a:r>
            <a:endParaRPr lang="en-US" sz="1200" dirty="0">
              <a:solidFill>
                <a:prstClr val="black"/>
              </a:solidFill>
              <a:latin typeface="Century Gothic" pitchFamily="34" charset="0"/>
            </a:endParaRPr>
          </a:p>
          <a:p>
            <a:pPr marL="817200" lvl="3" indent="-180000">
              <a:spcBef>
                <a:spcPts val="300"/>
              </a:spcBef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srgbClr val="FF0000"/>
                </a:solidFill>
                <a:latin typeface="Century Gothic" pitchFamily="34" charset="0"/>
              </a:rPr>
              <a:t>     </a:t>
            </a:r>
            <a:r>
              <a:rPr lang="en-US" sz="1400" b="1" dirty="0">
                <a:solidFill>
                  <a:schemeClr val="tx1"/>
                </a:solidFill>
                <a:latin typeface="Century Gothic" pitchFamily="34" charset="0"/>
              </a:rPr>
              <a:t>39% of the budget was spent for the period April – September 201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9167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6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0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2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17" grpId="0"/>
      <p:bldP spid="27" grpId="0"/>
      <p:bldP spid="3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4</a:t>
            </a:fld>
            <a:endParaRPr lang="en-ZA" dirty="0"/>
          </a:p>
        </p:txBody>
      </p:sp>
      <p:sp>
        <p:nvSpPr>
          <p:cNvPr id="25" name="AutoShape 36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295275" y="188640"/>
            <a:ext cx="8764602" cy="551592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>
            <a:normAutofit fontScale="90000"/>
          </a:bodyPr>
          <a:lstStyle/>
          <a:p>
            <a:pPr>
              <a:spcBef>
                <a:spcPts val="1800"/>
              </a:spcBef>
              <a:spcAft>
                <a:spcPct val="0"/>
              </a:spcAft>
            </a:pPr>
            <a:br>
              <a:rPr lang="en-ZA" sz="2600" dirty="0">
                <a:solidFill>
                  <a:schemeClr val="bg1"/>
                </a:solidFill>
              </a:rPr>
            </a:br>
            <a:r>
              <a:rPr lang="en-ZA" sz="2600" dirty="0">
                <a:solidFill>
                  <a:schemeClr val="bg1"/>
                </a:solidFill>
              </a:rPr>
              <a:t>PROGRAMME 4 PERFORMANCE - </a:t>
            </a:r>
            <a:r>
              <a:rPr lang="en-GB" sz="2000" dirty="0">
                <a:solidFill>
                  <a:schemeClr val="bg1"/>
                </a:solidFill>
              </a:rPr>
              <a:t>  FINANCIAL GOVERNANCE</a:t>
            </a:r>
            <a:br>
              <a:rPr lang="en-GB" sz="3600" dirty="0">
                <a:solidFill>
                  <a:schemeClr val="bg1"/>
                </a:solidFill>
                <a:effectLst>
                  <a:glow rad="63500">
                    <a:schemeClr val="accent4">
                      <a:satMod val="175000"/>
                      <a:alpha val="40000"/>
                    </a:schemeClr>
                  </a:glow>
                </a:effectLst>
              </a:rPr>
            </a:br>
            <a:endParaRPr lang="en-GB" sz="2600" b="1" dirty="0">
              <a:solidFill>
                <a:schemeClr val="bg1"/>
              </a:solidFill>
            </a:endParaRPr>
          </a:p>
        </p:txBody>
      </p:sp>
      <p:sp>
        <p:nvSpPr>
          <p:cNvPr id="14" name="Text Placeholder 5"/>
          <p:cNvSpPr txBox="1">
            <a:spLocks/>
          </p:cNvSpPr>
          <p:nvPr/>
        </p:nvSpPr>
        <p:spPr>
          <a:xfrm>
            <a:off x="1279418" y="2636912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Administration achieved 6 of the 7    1</a:t>
            </a:r>
            <a:r>
              <a:rPr lang="en-US" sz="1400" b="1" baseline="30000" dirty="0">
                <a:solidFill>
                  <a:prstClr val="black"/>
                </a:solidFill>
                <a:latin typeface="Century Gothic" pitchFamily="34" charset="0"/>
              </a:rPr>
              <a:t>st</a:t>
            </a: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  quarter planned targets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1" name="Text Placeholder 5"/>
          <p:cNvSpPr txBox="1">
            <a:spLocks/>
          </p:cNvSpPr>
          <p:nvPr/>
        </p:nvSpPr>
        <p:spPr>
          <a:xfrm>
            <a:off x="1211513" y="3933056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4" name="Text Placeholder 5"/>
          <p:cNvSpPr txBox="1">
            <a:spLocks/>
          </p:cNvSpPr>
          <p:nvPr/>
        </p:nvSpPr>
        <p:spPr>
          <a:xfrm>
            <a:off x="1219129" y="5478458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67544" y="1196752"/>
            <a:ext cx="8352928" cy="106953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878504" y="1273468"/>
            <a:ext cx="2260701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8" name="Text Placeholder 5"/>
          <p:cNvSpPr txBox="1">
            <a:spLocks/>
          </p:cNvSpPr>
          <p:nvPr/>
        </p:nvSpPr>
        <p:spPr>
          <a:xfrm>
            <a:off x="1211513" y="1628800"/>
            <a:ext cx="7848364" cy="645392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Financial Governance  achieved nine (9</a:t>
            </a:r>
            <a:r>
              <a:rPr lang="en-US" sz="1400" b="1" dirty="0">
                <a:latin typeface="Century Gothic" pitchFamily="34" charset="0"/>
              </a:rPr>
              <a:t>) of the </a:t>
            </a: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ten (10</a:t>
            </a:r>
            <a:r>
              <a:rPr lang="en-US" sz="1400" b="1" dirty="0">
                <a:latin typeface="Century Gothic" pitchFamily="34" charset="0"/>
              </a:rPr>
              <a:t>) 2</a:t>
            </a:r>
            <a:r>
              <a:rPr lang="en-US" sz="1400" b="1" baseline="30000" dirty="0">
                <a:latin typeface="Century Gothic" pitchFamily="34" charset="0"/>
              </a:rPr>
              <a:t>nd</a:t>
            </a:r>
            <a:r>
              <a:rPr lang="en-US" sz="1400" b="1" dirty="0">
                <a:latin typeface="Century Gothic" pitchFamily="34" charset="0"/>
              </a:rPr>
              <a:t> </a:t>
            </a: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quarter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planned targets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6" name="Rounded Rectangle 25"/>
          <p:cNvSpPr/>
          <p:nvPr/>
        </p:nvSpPr>
        <p:spPr>
          <a:xfrm>
            <a:off x="460794" y="2431333"/>
            <a:ext cx="8359677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27" name="Text Placeholder 5"/>
          <p:cNvSpPr txBox="1">
            <a:spLocks/>
          </p:cNvSpPr>
          <p:nvPr/>
        </p:nvSpPr>
        <p:spPr>
          <a:xfrm>
            <a:off x="878504" y="2518634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PARTIAL 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8" name="Text Placeholder 5"/>
          <p:cNvSpPr txBox="1">
            <a:spLocks/>
          </p:cNvSpPr>
          <p:nvPr/>
        </p:nvSpPr>
        <p:spPr>
          <a:xfrm>
            <a:off x="1211513" y="3007397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latin typeface="Century Gothic" pitchFamily="34" charset="0"/>
              </a:rPr>
              <a:t>One (1)</a:t>
            </a:r>
            <a:endParaRPr lang="en-US" sz="1200" dirty="0">
              <a:latin typeface="Century Gothic" pitchFamily="34" charset="0"/>
            </a:endParaRP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29" name="Rounded Rectangle 28"/>
          <p:cNvSpPr/>
          <p:nvPr/>
        </p:nvSpPr>
        <p:spPr>
          <a:xfrm>
            <a:off x="479539" y="3722699"/>
            <a:ext cx="8340932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/>
          </a:p>
        </p:txBody>
      </p:sp>
      <p:sp>
        <p:nvSpPr>
          <p:cNvPr id="30" name="Text Placeholder 5"/>
          <p:cNvSpPr txBox="1">
            <a:spLocks/>
          </p:cNvSpPr>
          <p:nvPr/>
        </p:nvSpPr>
        <p:spPr>
          <a:xfrm>
            <a:off x="878504" y="3799485"/>
            <a:ext cx="3261448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800" b="1" dirty="0">
                <a:solidFill>
                  <a:prstClr val="black"/>
                </a:solidFill>
                <a:latin typeface="Century Gothic" pitchFamily="34" charset="0"/>
              </a:rPr>
              <a:t>NON ACHIEVEMENTS</a:t>
            </a: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31" name="Text Placeholder 5"/>
          <p:cNvSpPr txBox="1">
            <a:spLocks/>
          </p:cNvSpPr>
          <p:nvPr/>
        </p:nvSpPr>
        <p:spPr>
          <a:xfrm>
            <a:off x="1211513" y="4288248"/>
            <a:ext cx="7848364" cy="555034"/>
          </a:xfrm>
          <a:prstGeom prst="rect">
            <a:avLst/>
          </a:prstGeom>
          <a:noFill/>
        </p:spPr>
        <p:txBody>
          <a:bodyPr lIns="72000" tIns="72000" rIns="72000" bIns="72000"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36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3pPr>
            <a:lvl4pPr marL="54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720000" indent="-1800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6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33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305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77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prstClr val="black"/>
                </a:solidFill>
                <a:latin typeface="Century Gothic" pitchFamily="34" charset="0"/>
              </a:rPr>
              <a:t>None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1200" dirty="0">
                <a:solidFill>
                  <a:prstClr val="black"/>
                </a:solidFill>
                <a:latin typeface="Century Gothic" pitchFamily="34" charset="0"/>
              </a:rPr>
              <a:t>     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sp>
        <p:nvSpPr>
          <p:cNvPr id="20" name="Rounded Rectangle 19"/>
          <p:cNvSpPr/>
          <p:nvPr/>
        </p:nvSpPr>
        <p:spPr>
          <a:xfrm>
            <a:off x="502019" y="5014065"/>
            <a:ext cx="8280920" cy="113109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lvl="2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b="1" dirty="0">
                <a:solidFill>
                  <a:prstClr val="black"/>
                </a:solidFill>
                <a:latin typeface="Century Gothic" pitchFamily="34" charset="0"/>
              </a:rPr>
              <a:t>BUDGET EXPENDITURE</a:t>
            </a:r>
            <a:endParaRPr lang="en-US" sz="1200" dirty="0">
              <a:solidFill>
                <a:prstClr val="black"/>
              </a:solidFill>
              <a:latin typeface="Century Gothic" pitchFamily="34" charset="0"/>
            </a:endParaRPr>
          </a:p>
          <a:p>
            <a:pPr marL="817200" lvl="3" indent="-180000">
              <a:spcBef>
                <a:spcPts val="300"/>
              </a:spcBef>
              <a:buClr>
                <a:srgbClr val="002060"/>
              </a:buClr>
              <a:buBlip>
                <a:blip r:embed="rId5"/>
              </a:buBlip>
            </a:pPr>
            <a:r>
              <a:rPr lang="en-US" sz="1400" b="1" dirty="0">
                <a:solidFill>
                  <a:srgbClr val="FF0000"/>
                </a:solidFill>
                <a:latin typeface="Century Gothic" pitchFamily="34" charset="0"/>
              </a:rPr>
              <a:t>     </a:t>
            </a:r>
            <a:r>
              <a:rPr lang="en-US" sz="1400" b="1" dirty="0">
                <a:solidFill>
                  <a:schemeClr val="tx1"/>
                </a:solidFill>
                <a:latin typeface="Century Gothic" pitchFamily="34" charset="0"/>
              </a:rPr>
              <a:t>42% of the budget was spent for the period April – September 2018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52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0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27" grpId="0"/>
      <p:bldP spid="3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6592046"/>
              </p:ext>
            </p:extLst>
          </p:nvPr>
        </p:nvGraphicFramePr>
        <p:xfrm>
          <a:off x="323427" y="1052737"/>
          <a:ext cx="8504116" cy="52005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9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3409158440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559324409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4213930743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440755784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424950349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316201528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992488283"/>
                    </a:ext>
                  </a:extLst>
                </a:gridCol>
                <a:gridCol w="108719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108974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2018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7209">
                <a:tc gridSpan="10"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ZA" sz="1200" b="1" u="none" strike="noStrike" dirty="0">
                          <a:effectLst/>
                          <a:latin typeface="+mn-lt"/>
                        </a:rPr>
                        <a:t>PROGRAMME 1: ADMINISTRATION 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100" b="1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61 161 </a:t>
                      </a:r>
                    </a:p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26</a:t>
                      </a:r>
                      <a:r>
                        <a:rPr lang="en-ZA" sz="11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452</a:t>
                      </a:r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3%</a:t>
                      </a:r>
                    </a:p>
                    <a:p>
                      <a:pPr algn="ctr" fontAlgn="t"/>
                      <a:r>
                        <a:rPr lang="en-ZA" sz="9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5870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1.1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Office of the Minister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90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ZA" dirty="0"/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6 828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2 866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6892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  <a:latin typeface="+mn-lt"/>
                        </a:rPr>
                        <a:t> 1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Number of formal</a:t>
                      </a:r>
                      <a:r>
                        <a:rPr lang="en-ZA" sz="1000" b="0" u="none" strike="noStrike" baseline="0" dirty="0">
                          <a:effectLst/>
                          <a:latin typeface="+mn-lt"/>
                        </a:rPr>
                        <a:t> engagements with the Department on meeting statutory and executive requirements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4540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 8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2        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u="none" strike="noStrike" dirty="0"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 None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6919" marR="6919" marT="6919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66995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ZA" sz="1000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en-ZA" sz="10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formal engagements with the Western Cape Gambling and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cing 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oard on meeting statutory and executive requirements 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4540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4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1         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u="none" strike="noStrike" dirty="0"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None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919" marR="6919" marT="6919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28036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  <a:latin typeface="+mn-lt"/>
                        </a:rPr>
                        <a:t> 1.3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Number of meetings</a:t>
                      </a:r>
                      <a:r>
                        <a:rPr lang="en-ZA" sz="1000" b="0" u="none" strike="noStrike" baseline="0" dirty="0">
                          <a:effectLst/>
                          <a:latin typeface="+mn-lt"/>
                        </a:rPr>
                        <a:t> </a:t>
                      </a:r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/engagements with the Consul General,</a:t>
                      </a:r>
                      <a:r>
                        <a:rPr lang="en-ZA" sz="1000" b="0" u="none" strike="noStrike" baseline="0" dirty="0">
                          <a:effectLst/>
                          <a:latin typeface="+mn-lt"/>
                        </a:rPr>
                        <a:t> members of the Diplomatic Corps and incoming foreign delegations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4540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u="none" strike="noStrike" dirty="0"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 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u="none" strike="noStrike" dirty="0"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None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6919" marR="6919" marT="6919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31676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3261565"/>
              </p:ext>
            </p:extLst>
          </p:nvPr>
        </p:nvGraphicFramePr>
        <p:xfrm>
          <a:off x="277800" y="980729"/>
          <a:ext cx="8614675" cy="50955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59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83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434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717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857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2576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1844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114403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349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1.2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Management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Services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 294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1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807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4887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2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prescribed performance plans and reports submitted 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60920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2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reports on the implementation of the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Workforce Plan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9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endParaRPr lang="en-US" sz="10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rtl="0" fontAlgn="t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 outstanding report of first quarter was completed in the second quarter</a:t>
                      </a:r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6187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6615" y="227410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294919"/>
              </p:ext>
            </p:extLst>
          </p:nvPr>
        </p:nvGraphicFramePr>
        <p:xfrm>
          <a:off x="341224" y="1124744"/>
          <a:ext cx="8551255" cy="34669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3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15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25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044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044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857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819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1050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01050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1484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152127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7009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1.4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8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Financial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Management</a:t>
                      </a:r>
                      <a:endParaRPr lang="en-ZA" sz="9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endParaRPr lang="en-ZA" sz="9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 039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1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779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7497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3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IYM reports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8647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3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Budget submissions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chieved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8647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3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Corporate reports </a:t>
                      </a:r>
                    </a:p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aseline="0" dirty="0"/>
                        <a:t>Achieved </a:t>
                      </a:r>
                      <a:endParaRPr lang="en-ZA" sz="1000" dirty="0"/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None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165171013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23534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8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8032" y="260648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1771047"/>
              </p:ext>
            </p:extLst>
          </p:nvPr>
        </p:nvGraphicFramePr>
        <p:xfrm>
          <a:off x="323528" y="1052736"/>
          <a:ext cx="8496943" cy="39178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30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0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83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09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98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725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22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4973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495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24955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3716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264785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769">
                <a:tc gridSpan="9"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ZA" sz="1200" b="1" u="none" strike="noStrike" dirty="0">
                          <a:effectLst/>
                          <a:latin typeface="+mn-lt"/>
                        </a:rPr>
                        <a:t>PROGRAMME 2: SUSTAINABLE RESOURCE MANAGEMENT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9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59 486</a:t>
                      </a:r>
                    </a:p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</a:t>
                      </a:r>
                      <a:r>
                        <a:rPr lang="en-ZA" sz="11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1 785</a:t>
                      </a:r>
                      <a:endParaRPr lang="en-ZA" sz="11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%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0420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.1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8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Programme Support</a:t>
                      </a:r>
                    </a:p>
                    <a:p>
                      <a:pPr algn="l" fontAlgn="t"/>
                      <a:r>
                        <a:rPr lang="en-ZA" sz="90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8 049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2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803</a:t>
                      </a:r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%</a:t>
                      </a:r>
                    </a:p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84449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4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quarterly performance reports for Programme 2 – Sustainable Resource Management submitted</a:t>
                      </a:r>
                    </a:p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on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0579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9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3555573"/>
              </p:ext>
            </p:extLst>
          </p:nvPr>
        </p:nvGraphicFramePr>
        <p:xfrm>
          <a:off x="373379" y="1052736"/>
          <a:ext cx="8499577" cy="44055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284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81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78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00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866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205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107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904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6904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2158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152127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584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1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2.2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8"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Fiscal</a:t>
                      </a:r>
                      <a:r>
                        <a:rPr lang="en-ZA" sz="1200" b="1" u="none" strike="noStrike" baseline="0" dirty="0">
                          <a:solidFill>
                            <a:schemeClr val="bg2"/>
                          </a:solidFill>
                          <a:effectLst/>
                        </a:rPr>
                        <a:t> Policy</a:t>
                      </a:r>
                      <a:endParaRPr lang="en-ZA" sz="9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900" u="none" strike="noStrike" dirty="0">
                          <a:solidFill>
                            <a:schemeClr val="bg2"/>
                          </a:solidFill>
                          <a:effectLst/>
                        </a:rPr>
                        <a:t> </a:t>
                      </a:r>
                      <a:endParaRPr lang="en-ZA" sz="9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BF2F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5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3 685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 352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%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2529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5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research reports on the Provincial and Local Government Fiscal System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Achieved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 100%</a:t>
                      </a:r>
                      <a:endParaRPr kumimoji="0" lang="en-ZA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 None </a:t>
                      </a:r>
                      <a:endParaRPr kumimoji="0" lang="en-ZA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 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9007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5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Provincial Revenue </a:t>
                      </a:r>
                    </a:p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reports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None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7145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Cash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Management Reports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None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5925251"/>
                  </a:ext>
                </a:extLst>
              </a:tr>
              <a:tr h="864096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4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reports on the performance of the WCGRB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None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98161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b="1" dirty="0"/>
              <a:t>Financial perform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20870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0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697635"/>
              </p:ext>
            </p:extLst>
          </p:nvPr>
        </p:nvGraphicFramePr>
        <p:xfrm>
          <a:off x="311971" y="1484785"/>
          <a:ext cx="8375721" cy="39314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23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5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9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1735511607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1650986787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1378058452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611903744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1934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117762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1988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.3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Provincial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Government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Budget Office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9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733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3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346</a:t>
                      </a:r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%</a:t>
                      </a:r>
                    </a:p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7617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6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provincial budget policy assessment reports</a:t>
                      </a:r>
                    </a:p>
                  </a:txBody>
                  <a:tcPr marL="171450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28            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8610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>
                          <a:effectLst/>
                        </a:rPr>
                        <a:t> </a:t>
                      </a:r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6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meous publication of the Provincial  Economic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Review and Outlook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tember 20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ptember 2018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ptember</a:t>
                      </a:r>
                      <a:r>
                        <a:rPr lang="en-ZA" sz="10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18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ieved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ptember</a:t>
                      </a:r>
                      <a:r>
                        <a:rPr lang="en-ZA" sz="10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18</a:t>
                      </a:r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on-Cumulative)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993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8993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3</a:t>
                      </a: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ous publication of the Medium Term Budget Policy Statement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vember 20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676470302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60677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1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8064" y="161032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894884"/>
              </p:ext>
            </p:extLst>
          </p:nvPr>
        </p:nvGraphicFramePr>
        <p:xfrm>
          <a:off x="467544" y="1484784"/>
          <a:ext cx="8137004" cy="36403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2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72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8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3582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69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612168033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1737320511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1014329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206246928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3620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296143">
                <a:tc gridSpan="4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>
                    <a:solidFill>
                      <a:srgbClr val="E5ED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4944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.3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Local </a:t>
                      </a:r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Government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Budget Office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90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0 134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4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475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%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rgbClr val="E5ED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2529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7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 municipal budget policy assessment reports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>
                    <a:solidFill>
                      <a:srgbClr val="E5EDE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0" marR="0" marT="0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5616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7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centage of Quarterly Performance Reports received,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sessed</a:t>
                      </a:r>
                    </a:p>
                  </a:txBody>
                  <a:tcPr marL="171450" marR="9525" marT="9525" marB="0" anchor="ctr">
                    <a:solidFill>
                      <a:srgbClr val="E5EDE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100%</a:t>
                      </a:r>
                    </a:p>
                  </a:txBody>
                  <a:tcPr marL="0" marR="0" marT="0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0" marR="0" marT="0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0" marR="0" marT="0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0" marR="0" marT="0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 % (non- cumulative)</a:t>
                      </a:r>
                    </a:p>
                  </a:txBody>
                  <a:tcPr marL="0" marR="0" marT="0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3</a:t>
                      </a:r>
                    </a:p>
                  </a:txBody>
                  <a:tcPr marL="6919" marR="6919" marT="6919" marB="0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imeous publication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 the Municipal Economic Review and Outlook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>
                    <a:solidFill>
                      <a:srgbClr val="E5EDE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pt 2018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pt 2018</a:t>
                      </a:r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Sept 2018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chieved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None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ept</a:t>
                      </a:r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2018</a:t>
                      </a:r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on- cumulative)</a:t>
                      </a:r>
                    </a:p>
                  </a:txBody>
                  <a:tcPr marL="0" marR="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89673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2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8574072"/>
              </p:ext>
            </p:extLst>
          </p:nvPr>
        </p:nvGraphicFramePr>
        <p:xfrm>
          <a:off x="323529" y="1628800"/>
          <a:ext cx="8516260" cy="36724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94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6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17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62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692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3301">
                  <a:extLst>
                    <a:ext uri="{9D8B030D-6E8A-4147-A177-3AD203B41FA5}">
                      <a16:colId xmlns:a16="http://schemas.microsoft.com/office/drawing/2014/main" val="1893751159"/>
                    </a:ext>
                  </a:extLst>
                </a:gridCol>
                <a:gridCol w="64382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0135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7944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633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0822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8455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06283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152127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-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584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.4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9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Provincial Government Finance</a:t>
                      </a:r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12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1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0 904</a:t>
                      </a:r>
                    </a:p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5</a:t>
                      </a:r>
                      <a:r>
                        <a:rPr lang="en-ZA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183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%%</a:t>
                      </a:r>
                    </a:p>
                    <a:p>
                      <a:pPr algn="ctr" fontAlgn="t"/>
                      <a:r>
                        <a:rPr lang="en-ZA" sz="11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8521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8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GB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provincial budget assessment reports</a:t>
                      </a:r>
                      <a:endParaRPr lang="en-ZA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100" dirty="0"/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ZA" dirty="0"/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u="none" strike="noStrike" dirty="0">
                          <a:effectLst/>
                          <a:latin typeface="+mn-lt"/>
                        </a:rPr>
                        <a:t> </a:t>
                      </a:r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8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expenditure</a:t>
                      </a:r>
                      <a:r>
                        <a:rPr lang="en-ZA" sz="1100" b="0" i="0" u="none" strike="noStrike" baseline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reviews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                  </a:t>
                      </a:r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chieved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80120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3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quarterly reports on the implementation of the budget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one 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99943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3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5764874"/>
              </p:ext>
            </p:extLst>
          </p:nvPr>
        </p:nvGraphicFramePr>
        <p:xfrm>
          <a:off x="648641" y="1052736"/>
          <a:ext cx="7997148" cy="54208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8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799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211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8986">
                  <a:extLst>
                    <a:ext uri="{9D8B030D-6E8A-4147-A177-3AD203B41FA5}">
                      <a16:colId xmlns:a16="http://schemas.microsoft.com/office/drawing/2014/main" val="406609875"/>
                    </a:ext>
                  </a:extLst>
                </a:gridCol>
                <a:gridCol w="38507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8371">
                  <a:extLst>
                    <a:ext uri="{9D8B030D-6E8A-4147-A177-3AD203B41FA5}">
                      <a16:colId xmlns:a16="http://schemas.microsoft.com/office/drawing/2014/main" val="138685804"/>
                    </a:ext>
                  </a:extLst>
                </a:gridCol>
                <a:gridCol w="42769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9093">
                  <a:extLst>
                    <a:ext uri="{9D8B030D-6E8A-4147-A177-3AD203B41FA5}">
                      <a16:colId xmlns:a16="http://schemas.microsoft.com/office/drawing/2014/main" val="3802683684"/>
                    </a:ext>
                  </a:extLst>
                </a:gridCol>
                <a:gridCol w="63299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69928">
                  <a:extLst>
                    <a:ext uri="{9D8B030D-6E8A-4147-A177-3AD203B41FA5}">
                      <a16:colId xmlns:a16="http://schemas.microsoft.com/office/drawing/2014/main" val="3551452091"/>
                    </a:ext>
                  </a:extLst>
                </a:gridCol>
                <a:gridCol w="40613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44016">
                  <a:extLst>
                    <a:ext uri="{9D8B030D-6E8A-4147-A177-3AD203B41FA5}">
                      <a16:colId xmlns:a16="http://schemas.microsoft.com/office/drawing/2014/main" val="1975092345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8255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01496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368151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-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584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2.4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12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Local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Government Finance</a:t>
                      </a:r>
                      <a:r>
                        <a:rPr lang="en-ZA" sz="90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56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848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7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734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3925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9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onthly IYM assessment reports on the implementation of the municipal budget 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72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 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ial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chieved</a:t>
                      </a: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%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ossel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Bay  has not submitted their July and August IYM information. The unit was therefore not able to perform an assessment for these two months, which resulted in an under-achievement of 2. </a:t>
                      </a:r>
                    </a:p>
                    <a:p>
                      <a:pPr algn="ctr" fontAlgn="t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owever, </a:t>
                      </a:r>
                      <a:r>
                        <a:rPr lang="en-US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nnaland</a:t>
                      </a:r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has submitted their May IYM , which was assessed in the 2nd quarter, making up for the under-achievement of 1 in the first quarter.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4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692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9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 budget assessment reports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3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 reports on MFMA implementation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 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one 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65789967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05775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4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6592148"/>
              </p:ext>
            </p:extLst>
          </p:nvPr>
        </p:nvGraphicFramePr>
        <p:xfrm>
          <a:off x="251520" y="1124744"/>
          <a:ext cx="8496941" cy="4016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0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5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30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71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051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3566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296144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-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2.4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Infrastructure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8 313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3</a:t>
                      </a:r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929 </a:t>
                      </a:r>
                    </a:p>
                    <a:p>
                      <a:pPr algn="ctr" fontAlgn="t"/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3424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0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asset management plans assessed 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rtially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chieved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wo departments submitted their asset management plans late. The two outstanding assessments will be conducted in the 3rd quarter.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0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Infrastructure expenditure reports assessed 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4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outstanding assessment of first quarter was completed in the second quarter.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3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infrastructure project delivery assessments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10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chieved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26734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5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342307"/>
              </p:ext>
            </p:extLst>
          </p:nvPr>
        </p:nvGraphicFramePr>
        <p:xfrm>
          <a:off x="251520" y="1124744"/>
          <a:ext cx="8496941" cy="366481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0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5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302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71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2051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3566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296144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-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2.4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Infrastructure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8 313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3</a:t>
                      </a:r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929 </a:t>
                      </a:r>
                    </a:p>
                    <a:p>
                      <a:pPr algn="ctr" fontAlgn="t"/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2627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4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quarterly reports on the implementation of infrastructure budgets to Cabinet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t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</a:t>
                      </a: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hieved 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%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he quarterly report  for 1st quarter was also submitted to cabinet in the second quarter, making up for the under-achievement in quarter 1.</a:t>
                      </a: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2094544993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5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developed and tested municipal infrastructure delivery management system(s) in selected municipalities</a:t>
                      </a:r>
                      <a:endParaRPr lang="en-ZA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60033478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46464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6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260648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801205"/>
              </p:ext>
            </p:extLst>
          </p:nvPr>
        </p:nvGraphicFramePr>
        <p:xfrm>
          <a:off x="179513" y="1340768"/>
          <a:ext cx="8892479" cy="31683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08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839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57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58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361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1570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836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6186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9110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9807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224136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584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2.4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Business</a:t>
                      </a:r>
                      <a:r>
                        <a:rPr lang="en-ZA" sz="1200" b="1" u="none" strike="noStrike" baseline="0" dirty="0">
                          <a:solidFill>
                            <a:schemeClr val="bg2"/>
                          </a:solidFill>
                          <a:effectLst/>
                        </a:rPr>
                        <a:t> Information and Data Management</a:t>
                      </a:r>
                      <a:endParaRPr lang="en-ZA" sz="900" b="1" u="none" strike="noStrike" dirty="0">
                        <a:solidFill>
                          <a:schemeClr val="bg2"/>
                        </a:solidFill>
                        <a:effectLst/>
                      </a:endParaRPr>
                    </a:p>
                    <a:p>
                      <a:pPr algn="ctr" fontAlgn="t"/>
                      <a:r>
                        <a:rPr lang="en-ZA" sz="9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 </a:t>
                      </a:r>
                    </a:p>
                    <a:p>
                      <a:pPr algn="ctr" fontAlgn="t"/>
                      <a:r>
                        <a:rPr lang="en-ZA" sz="9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 </a:t>
                      </a:r>
                      <a:endParaRPr lang="en-ZA" sz="9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 820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4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963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2529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1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datasets managed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4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4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     4 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None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 (non-cumulative)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7568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1.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budget process plans managed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3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-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-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49204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7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5090996"/>
              </p:ext>
            </p:extLst>
          </p:nvPr>
        </p:nvGraphicFramePr>
        <p:xfrm>
          <a:off x="341224" y="1340768"/>
          <a:ext cx="8551256" cy="32246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5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38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875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99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48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278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4180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362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8907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8907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13309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296144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program 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584">
                <a:tc gridSpan="9"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ZA" sz="1200" b="1" u="none" strike="noStrike" dirty="0">
                          <a:effectLst/>
                          <a:latin typeface="+mn-lt"/>
                        </a:rPr>
                        <a:t>PROGRAMME 3: ASSET</a:t>
                      </a:r>
                      <a:r>
                        <a:rPr lang="en-ZA" sz="1200" b="1" u="none" strike="noStrike" baseline="0" dirty="0">
                          <a:effectLst/>
                          <a:latin typeface="+mn-lt"/>
                        </a:rPr>
                        <a:t> MANAGEMENT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62 524</a:t>
                      </a:r>
                    </a:p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24</a:t>
                      </a:r>
                      <a:r>
                        <a:rPr lang="en-ZA" sz="11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230</a:t>
                      </a:r>
                      <a:endParaRPr lang="en-ZA" sz="11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%</a:t>
                      </a:r>
                    </a:p>
                    <a:p>
                      <a:pPr algn="ctr" fontAlgn="t"/>
                      <a:r>
                        <a:rPr lang="en-ZA" sz="9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4170013248"/>
                  </a:ext>
                </a:extLst>
              </a:tr>
              <a:tr h="357584">
                <a:tc>
                  <a:txBody>
                    <a:bodyPr/>
                    <a:lstStyle/>
                    <a:p>
                      <a:pPr algn="l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3.1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Programme</a:t>
                      </a:r>
                      <a:r>
                        <a:rPr lang="en-ZA" sz="1200" b="1" u="none" strike="noStrike" baseline="0" dirty="0">
                          <a:solidFill>
                            <a:schemeClr val="bg2"/>
                          </a:solidFill>
                          <a:effectLst/>
                        </a:rPr>
                        <a:t> Support 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u="none" strike="noStrike" dirty="0">
                          <a:effectLst/>
                        </a:rPr>
                        <a:t> 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3 493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069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31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2529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2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quarterly performance reports for Programme 3 – Asset</a:t>
                      </a:r>
                      <a:r>
                        <a:rPr lang="en-ZA" sz="1000" b="0" u="none" strike="noStrike" baseline="0" dirty="0">
                          <a:effectLst/>
                        </a:rPr>
                        <a:t> Management submitted </a:t>
                      </a:r>
                    </a:p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0" dirty="0"/>
                        <a:t>4</a:t>
                      </a:r>
                      <a:endParaRPr lang="en-ZA" sz="1000" b="0" dirty="0"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hieved</a:t>
                      </a: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e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848233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8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575434"/>
              </p:ext>
            </p:extLst>
          </p:nvPr>
        </p:nvGraphicFramePr>
        <p:xfrm>
          <a:off x="323423" y="332656"/>
          <a:ext cx="8569057" cy="59766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01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85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128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369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28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763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8765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9219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968791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638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3.2</a:t>
                      </a: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Supply Chain Management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: Provincial Government 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90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9 921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7088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26720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13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interventions performed to assist departments with the continuous improvements of their supply chain and asset management systems 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17026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9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9250969"/>
              </p:ext>
            </p:extLst>
          </p:nvPr>
        </p:nvGraphicFramePr>
        <p:xfrm>
          <a:off x="323423" y="980728"/>
          <a:ext cx="8569057" cy="40985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20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0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01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9857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128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369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128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763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8765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9219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787521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1688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3.2</a:t>
                      </a: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Supply Chain Management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: Provincial Government 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90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C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9 921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7</a:t>
                      </a:r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088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6191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2</a:t>
                      </a: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SCM/AM and SCM systems assessment reports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n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4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753318332"/>
                  </a:ext>
                </a:extLst>
              </a:tr>
              <a:tr h="916191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3</a:t>
                      </a: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tabLst>
                          <a:tab pos="180340" algn="l"/>
                          <a:tab pos="540385" algn="l"/>
                        </a:tabLst>
                      </a:pPr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interventions for strategic sourcing implementation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3559088891"/>
                  </a:ext>
                </a:extLst>
              </a:tr>
              <a:tr h="916191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.4</a:t>
                      </a:r>
                    </a:p>
                  </a:txBody>
                  <a:tcPr marL="6919" marR="6919" marT="6919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supplier engagement sessions held to develop and educate suppliers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3620706128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01007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784977" cy="559256"/>
          </a:xfrm>
        </p:spPr>
        <p:txBody>
          <a:bodyPr/>
          <a:lstStyle/>
          <a:p>
            <a:pPr algn="ctr"/>
            <a:br>
              <a:rPr lang="en-ZA" sz="1800" dirty="0"/>
            </a:br>
            <a:r>
              <a:rPr lang="en-ZA" sz="1800" dirty="0"/>
              <a:t>Vote 3 – Provincial Treasury:  Expenditure as at 30 September 2018</a:t>
            </a:r>
            <a:br>
              <a:rPr lang="en-ZA" dirty="0">
                <a:solidFill>
                  <a:srgbClr val="000000"/>
                </a:solidFill>
              </a:rPr>
            </a:b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9590447"/>
              </p:ext>
            </p:extLst>
          </p:nvPr>
        </p:nvGraphicFramePr>
        <p:xfrm>
          <a:off x="750949" y="1268760"/>
          <a:ext cx="7642101" cy="34960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490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125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71775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 Name</a:t>
                      </a: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yment as at 30 September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8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for 2018/19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ed Performance Outcome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638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dat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ions to </a:t>
                      </a:r>
                    </a:p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19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Expenditur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n budget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Over/</a:t>
                      </a:r>
                    </a:p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der)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ual spent as percentage of budget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8072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dministratio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452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 77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 23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 16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stainable Resource Manage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 785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3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128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4 9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9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486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 57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7438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set Manage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230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686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 91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524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 6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2860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nancial Governanc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579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896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 47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219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74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7438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0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046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3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489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3 53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25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390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1 8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71334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0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8837709"/>
              </p:ext>
            </p:extLst>
          </p:nvPr>
        </p:nvGraphicFramePr>
        <p:xfrm>
          <a:off x="204468" y="1201198"/>
          <a:ext cx="8685862" cy="51576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52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94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961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617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923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9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739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3302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241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13283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5955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04619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054924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 programme / Performance Measures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 for 2018/19 as per </a:t>
                      </a:r>
                      <a:b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059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3.2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  <a:p>
                      <a:pPr algn="l" fontAlgn="t"/>
                      <a:r>
                        <a:rPr lang="en-ZA" sz="1000" b="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  <a:p>
                      <a:pPr algn="l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</a:rPr>
                        <a:t>14.1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8"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Supply</a:t>
                      </a:r>
                      <a:r>
                        <a:rPr lang="en-ZA" sz="1200" b="1" u="none" strike="noStrike" baseline="0" dirty="0">
                          <a:solidFill>
                            <a:schemeClr val="bg2"/>
                          </a:solidFill>
                          <a:effectLst/>
                        </a:rPr>
                        <a:t> Chain Management: Local Government</a:t>
                      </a:r>
                      <a:r>
                        <a:rPr lang="en-ZA" sz="9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 </a:t>
                      </a:r>
                      <a:endParaRPr lang="en-ZA" sz="9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6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31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481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2 825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2604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 vMerge="1"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municipal</a:t>
                      </a:r>
                      <a:r>
                        <a:rPr lang="en-ZA" sz="1000" b="0" u="none" strike="noStrike" baseline="0" dirty="0">
                          <a:effectLst/>
                        </a:rPr>
                        <a:t> SCM and MAM Virtuous Cycle assessment reports 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0125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 dirty="0">
                          <a:effectLst/>
                        </a:rPr>
                        <a:t> </a:t>
                      </a:r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r>
                        <a:rPr lang="en-ZA" sz="1000" b="0" dirty="0"/>
                        <a:t>14.2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 Districts assisted with the implementation of the model policy for infrastructure procurement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 Achieved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100%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None</a:t>
                      </a:r>
                      <a:endParaRPr kumimoji="0" lang="en-ZA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3544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r>
                        <a:rPr lang="en-ZA" sz="1000" b="0" dirty="0"/>
                        <a:t>14.3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ZA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 Districts assisted with structured training interventions and capacity building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endParaRPr lang="en-ZA" sz="10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t"/>
                      <a:r>
                        <a:rPr lang="en-ZA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chieved </a:t>
                      </a:r>
                    </a:p>
                    <a:p>
                      <a:pPr algn="ctr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None</a:t>
                      </a:r>
                      <a:endParaRPr kumimoji="0" lang="en-ZA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86948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r>
                        <a:rPr lang="en-ZA" sz="1000" b="0" dirty="0"/>
                        <a:t>14.4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ZA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 Districts assisted with asset management business processes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None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010155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r>
                        <a:rPr lang="en-ZA" sz="1000" b="0" dirty="0"/>
                        <a:t>14.5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 Districts assisted with localisation of procurement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/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None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  <a:p>
                      <a:pPr algn="ctr" fontAlgn="t"/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355259437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100635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1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6137408"/>
              </p:ext>
            </p:extLst>
          </p:nvPr>
        </p:nvGraphicFramePr>
        <p:xfrm>
          <a:off x="467544" y="1124744"/>
          <a:ext cx="8208913" cy="49228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2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7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81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798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45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789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7893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807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012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9614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6409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1008111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 for 2018/19 as per </a:t>
                      </a:r>
                      <a:b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0880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3.4</a:t>
                      </a:r>
                      <a:endParaRPr lang="en-ZA" sz="12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u="none" strike="noStrike" dirty="0">
                          <a:solidFill>
                            <a:schemeClr val="bg2"/>
                          </a:solidFill>
                          <a:effectLst/>
                        </a:rPr>
                        <a:t>Supporting and Interlinked</a:t>
                      </a:r>
                      <a:r>
                        <a:rPr lang="en-ZA" sz="1200" b="1" u="none" strike="noStrike" baseline="0" dirty="0">
                          <a:solidFill>
                            <a:schemeClr val="bg2"/>
                          </a:solidFill>
                          <a:effectLst/>
                        </a:rPr>
                        <a:t> Financial Systems</a:t>
                      </a:r>
                      <a:endParaRPr lang="en-ZA" sz="9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31 481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 248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%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2529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5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institutions provided with user account management service </a:t>
                      </a:r>
                      <a:r>
                        <a:rPr lang="en-ZA" sz="1000" b="0" u="none" strike="noStrike" dirty="0" err="1">
                          <a:effectLst/>
                        </a:rPr>
                        <a:t>i.r.o</a:t>
                      </a:r>
                      <a:r>
                        <a:rPr lang="en-ZA" sz="1000" b="0" u="none" strike="noStrike" dirty="0">
                          <a:effectLst/>
                        </a:rPr>
                        <a:t> provincially operated financial</a:t>
                      </a:r>
                      <a:r>
                        <a:rPr lang="en-ZA" sz="1000" b="0" u="none" strike="noStrike" baseline="0" dirty="0">
                          <a:effectLst/>
                        </a:rPr>
                        <a:t> systems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2 (Non-Cumulative)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2529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.2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votes assisted with the data maintenance planning and preparation of data </a:t>
                      </a:r>
                      <a:r>
                        <a:rPr lang="en-GB" sz="10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.r.o</a:t>
                      </a:r>
                      <a:r>
                        <a:rPr lang="en-GB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all provincially operated financial systems for migration to </a:t>
                      </a:r>
                      <a:br>
                        <a:rPr lang="en-GB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IFMS</a:t>
                      </a:r>
                      <a:endParaRPr lang="en-ZA" sz="10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chieved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4581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5.3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votes assisted in providing</a:t>
                      </a:r>
                      <a:r>
                        <a:rPr lang="en-ZA" sz="1000" b="0" u="none" strike="noStrike" baseline="0" dirty="0">
                          <a:effectLst/>
                        </a:rPr>
                        <a:t> and analysing data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Achieved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None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90901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2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0672143"/>
              </p:ext>
            </p:extLst>
          </p:nvPr>
        </p:nvGraphicFramePr>
        <p:xfrm>
          <a:off x="251520" y="1124744"/>
          <a:ext cx="8349454" cy="315371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29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760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564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57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579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360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1602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08615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1008111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Target for 2018/19 as per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pPr algn="ctr" fontAlgn="t"/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7049">
                <a:tc gridSpan="11">
                  <a:txBody>
                    <a:bodyPr/>
                    <a:lstStyle/>
                    <a:p>
                      <a:pPr algn="l" fontAlgn="t"/>
                      <a:r>
                        <a:rPr lang="en-ZA" sz="90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en-ZA" sz="1200" b="1" u="none" strike="noStrike" dirty="0">
                          <a:effectLst/>
                          <a:latin typeface="+mn-lt"/>
                        </a:rPr>
                        <a:t>PROGRAMME 4: FINANCIAL</a:t>
                      </a:r>
                      <a:r>
                        <a:rPr lang="en-ZA" sz="1200" b="1" u="none" strike="noStrike" baseline="0" dirty="0">
                          <a:effectLst/>
                          <a:latin typeface="+mn-lt"/>
                        </a:rPr>
                        <a:t> GOVERNANCE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</a:t>
                      </a:r>
                      <a:r>
                        <a:rPr lang="en-ZA" sz="11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 219</a:t>
                      </a:r>
                      <a:endParaRPr lang="en-ZA" sz="11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1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7</a:t>
                      </a:r>
                      <a:r>
                        <a:rPr lang="en-ZA" sz="1100" b="1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579</a:t>
                      </a:r>
                      <a:endParaRPr lang="en-ZA" sz="1100" b="1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%</a:t>
                      </a:r>
                    </a:p>
                    <a:p>
                      <a:pPr algn="ctr" fontAlgn="t"/>
                      <a:r>
                        <a:rPr lang="en-ZA" sz="90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7584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4.1</a:t>
                      </a:r>
                    </a:p>
                  </a:txBody>
                  <a:tcPr marL="6919" marR="6919" marT="6919" marB="0"/>
                </a:tc>
                <a:tc gridSpan="9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Programme Support</a:t>
                      </a:r>
                      <a:endParaRPr lang="en-ZA" sz="900" b="1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9 039 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4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088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2529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16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ber of quarterly performance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reports for Programme 4 – Financial Governance submitted</a:t>
                      </a:r>
                    </a:p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chieved</a:t>
                      </a:r>
                      <a:endParaRPr lang="en-ZA" sz="10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 %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 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48028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3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560705"/>
              </p:ext>
            </p:extLst>
          </p:nvPr>
        </p:nvGraphicFramePr>
        <p:xfrm>
          <a:off x="458136" y="1013134"/>
          <a:ext cx="8415276" cy="45882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02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98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033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040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9577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100138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936103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 for 2018/19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838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2</a:t>
                      </a: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unting Services: Local Government Accounting </a:t>
                      </a: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1200" b="1" i="0" u="none" strike="noStrike" kern="1200" dirty="0"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9 459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3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815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67638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7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Number of municipalities supported with the accounting reporting framework</a:t>
                      </a:r>
                    </a:p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30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Partially Achieved 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ZA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ne</a:t>
                      </a:r>
                    </a:p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ZA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30 </a:t>
                      </a:r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None-cumulative)</a:t>
                      </a:r>
                      <a:endParaRPr kumimoji="0" lang="en-ZA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67638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.2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Reports submitted for MGRO engagements </a:t>
                      </a:r>
                      <a:endParaRPr lang="en-ZA" sz="10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30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kumimoji="0" lang="en-ZA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entury Gothic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8204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</a:rPr>
                        <a:t> 17.3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GB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ities monitored and supported with </a:t>
                      </a:r>
                      <a:r>
                        <a:rPr lang="en-GB" sz="10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COA</a:t>
                      </a:r>
                      <a:r>
                        <a:rPr lang="en-GB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mplementation</a:t>
                      </a:r>
                      <a:endParaRPr lang="en-ZA" sz="10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71450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effectLst/>
                        </a:rPr>
                        <a:t>30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</a:t>
                      </a:r>
                    </a:p>
                    <a:p>
                      <a:pPr algn="ctr" fontAlgn="t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 (Non-cumulative)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83716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4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5446001"/>
              </p:ext>
            </p:extLst>
          </p:nvPr>
        </p:nvGraphicFramePr>
        <p:xfrm>
          <a:off x="106041" y="1052736"/>
          <a:ext cx="8784976" cy="42395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29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62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17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47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458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217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99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72329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41035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043151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 for 2018/19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012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ccounting</a:t>
                      </a:r>
                      <a:r>
                        <a:rPr lang="en-ZA" sz="1200" b="1" i="0" u="none" strike="noStrike" baseline="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Services: Provincial Government Accounting and Compliance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4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0 983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4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920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99058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18.1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votes assessed against the applicable accounting and norms and standards requirements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on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 (non-cumulative)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8954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2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accounting training interventions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7821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u="none" strike="noStrike" dirty="0">
                          <a:effectLst/>
                          <a:latin typeface="+mn-lt"/>
                        </a:rPr>
                        <a:t> 18.3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ous Publication and tabling of the ACFS 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month after 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ceipt of audit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report on the</a:t>
                      </a: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F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2012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5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1729359"/>
              </p:ext>
            </p:extLst>
          </p:nvPr>
        </p:nvGraphicFramePr>
        <p:xfrm>
          <a:off x="236025" y="1196752"/>
          <a:ext cx="8784976" cy="29152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29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54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62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17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470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458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21735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6995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6476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4860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043151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 for 2018/19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012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4.2</a:t>
                      </a: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Accounting</a:t>
                      </a:r>
                      <a:r>
                        <a:rPr lang="en-ZA" sz="1200" b="1" i="0" u="none" strike="noStrike" baseline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Services: Provincial Government Accounting and Compliance continue</a:t>
                      </a:r>
                      <a:endParaRPr lang="en-ZA" sz="900" b="0" i="0" u="none" strike="noStrike" dirty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 rowSpan="3">
                  <a:txBody>
                    <a:bodyPr/>
                    <a:lstStyle/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0 983</a:t>
                      </a:r>
                    </a:p>
                    <a:p>
                      <a:pPr algn="ctr" fontAlgn="t"/>
                      <a:r>
                        <a:rPr lang="en-ZA" sz="10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4</a:t>
                      </a:r>
                      <a:r>
                        <a:rPr lang="en-ZA" sz="10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920</a:t>
                      </a:r>
                      <a:endParaRPr lang="en-ZA" sz="10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0924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4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ZA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CGRO Cabinet submissions coordinated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Achieve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Non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6583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.5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GB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quarterly governance engagements with departments</a:t>
                      </a:r>
                      <a:r>
                        <a:rPr lang="en-ZA" sz="10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ZA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hieved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rgbClr val="E5ED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917427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6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6427883"/>
              </p:ext>
            </p:extLst>
          </p:nvPr>
        </p:nvGraphicFramePr>
        <p:xfrm>
          <a:off x="251520" y="919459"/>
          <a:ext cx="8647829" cy="53706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29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97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84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87771285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3244504555"/>
                    </a:ext>
                  </a:extLst>
                </a:gridCol>
                <a:gridCol w="98508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9389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015089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 for 2018/19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353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3</a:t>
                      </a: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porate Governance</a:t>
                      </a: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1200" b="1" i="0" u="none" strike="noStrike" kern="1200" dirty="0"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919" marR="6919" marT="6919" marB="0"/>
                </a:tc>
                <a:tc rowSpan="5">
                  <a:txBody>
                    <a:bodyPr/>
                    <a:lstStyle/>
                    <a:p>
                      <a:pPr algn="ctr" fontAlgn="t"/>
                      <a:r>
                        <a:rPr lang="en-ZA" sz="9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2 738</a:t>
                      </a:r>
                    </a:p>
                    <a:p>
                      <a:pPr algn="ctr" fontAlgn="t"/>
                      <a:r>
                        <a:rPr lang="en-ZA" sz="9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4</a:t>
                      </a:r>
                      <a:r>
                        <a:rPr lang="en-ZA" sz="900" b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756</a:t>
                      </a:r>
                      <a:endParaRPr lang="en-ZA" sz="900" b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ctr" fontAlgn="t"/>
                      <a:r>
                        <a:rPr lang="en-ZA" sz="9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4757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u="none" strike="noStrike" dirty="0">
                          <a:effectLst/>
                        </a:rPr>
                        <a:t> 19.1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 support initiatives on integrated capacity building and training</a:t>
                      </a:r>
                      <a:endParaRPr lang="en-ZA" sz="9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u="none" strike="noStrike" dirty="0">
                          <a:effectLst/>
                        </a:rPr>
                        <a:t>Achieved</a:t>
                      </a:r>
                      <a:r>
                        <a:rPr lang="en-ZA" sz="900" b="0" u="none" strike="noStrike" baseline="0" dirty="0">
                          <a:effectLst/>
                        </a:rPr>
                        <a:t> 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ne</a:t>
                      </a:r>
                    </a:p>
                  </a:txBody>
                  <a:tcPr marL="9525" marR="9525" marT="9525" marB="0" anchor="ctr">
                    <a:solidFill>
                      <a:srgbClr val="EBF2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05769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2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 MGRO assessment reports</a:t>
                      </a:r>
                      <a:endParaRPr lang="en-ZA" sz="9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05769">
                <a:tc>
                  <a:txBody>
                    <a:bodyPr/>
                    <a:lstStyle/>
                    <a:p>
                      <a:pPr algn="l" fontAlgn="t"/>
                      <a:r>
                        <a:rPr lang="en-ZA" sz="700" u="none" strike="noStrike">
                          <a:effectLst/>
                        </a:rPr>
                        <a:t> </a:t>
                      </a:r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u="none" strike="noStrike" dirty="0">
                          <a:effectLst/>
                        </a:rPr>
                        <a:t> 19.3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GB" sz="9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 support initiatives on Gover­nance, Risk and Control</a:t>
                      </a:r>
                      <a:endParaRPr lang="en-ZA" sz="9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u="none" strike="noStrike" dirty="0">
                          <a:effectLst/>
                        </a:rPr>
                        <a:t> Achieved 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u="none" strike="noStrike" dirty="0">
                          <a:effectLst/>
                        </a:rPr>
                        <a:t>100%</a:t>
                      </a:r>
                      <a:endParaRPr lang="en-ZA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n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83745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4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municipalities</a:t>
                      </a:r>
                      <a:r>
                        <a:rPr lang="en-ZA" sz="900" b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pported with financial delegation framework</a:t>
                      </a:r>
                      <a:endParaRPr lang="en-ZA" sz="9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artially-Achieved</a:t>
                      </a: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 planned support initiative for West Coast District Municipality was not rendered during the 2nd quarter due to the fact that both the MM and CFO were newly appointed.</a:t>
                      </a:r>
                      <a:endParaRPr lang="en-ZA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9525" marR="9525" marT="952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900" b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818057178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121964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7</a:t>
            </a:fld>
            <a:endParaRPr lang="en-ZA" dirty="0"/>
          </a:p>
        </p:txBody>
      </p:sp>
      <p:sp>
        <p:nvSpPr>
          <p:cNvPr id="6" name="AutoShape 3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1520" y="190244"/>
            <a:ext cx="8820472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ZA" sz="2500" dirty="0">
                <a:solidFill>
                  <a:schemeClr val="bg1"/>
                </a:solidFill>
              </a:rPr>
              <a:t>SUMMARY OF THE 2</a:t>
            </a:r>
            <a:r>
              <a:rPr lang="en-ZA" sz="2500" baseline="30000" dirty="0">
                <a:solidFill>
                  <a:schemeClr val="bg1"/>
                </a:solidFill>
              </a:rPr>
              <a:t>nd</a:t>
            </a:r>
            <a:r>
              <a:rPr lang="en-ZA" sz="2500" dirty="0">
                <a:solidFill>
                  <a:schemeClr val="bg1"/>
                </a:solidFill>
              </a:rPr>
              <a:t> QUARTER PERFORMANCE 2018/19</a:t>
            </a:r>
            <a:endParaRPr lang="en-GB" sz="25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8709907"/>
              </p:ext>
            </p:extLst>
          </p:nvPr>
        </p:nvGraphicFramePr>
        <p:xfrm>
          <a:off x="323425" y="1124743"/>
          <a:ext cx="8647829" cy="24387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29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297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84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00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87771285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3244504555"/>
                    </a:ext>
                  </a:extLst>
                </a:gridCol>
                <a:gridCol w="98508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9389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015089">
                <a:tc gridSpan="3"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gramme / Sub programme / Performance Measures</a:t>
                      </a:r>
                    </a:p>
                  </a:txBody>
                  <a:tcPr marL="9525" marR="9525" marT="9525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1" i="0" u="none" strike="noStrike" kern="1200" dirty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arget for 2018/19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lanned output 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s per APP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uarter</a:t>
                      </a:r>
                      <a:b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reliminary outpu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950" b="1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 Achieved (on/above target)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Partially achieved/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ot achieved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2 % Achieved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Q2</a:t>
                      </a:r>
                      <a:b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</a:b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omments </a:t>
                      </a:r>
                      <a:endParaRPr lang="en-ZA" sz="95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Cumulative performance (2</a:t>
                      </a:r>
                      <a:r>
                        <a:rPr lang="en-ZA" sz="950" b="1" i="0" u="none" strike="noStrike" baseline="3000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nd</a:t>
                      </a:r>
                      <a:r>
                        <a:rPr lang="en-ZA" sz="950" b="1" i="0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i="0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Q)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Adjusted Budget/</a:t>
                      </a:r>
                    </a:p>
                    <a:p>
                      <a:pPr algn="ctr" fontAlgn="t"/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April 2018 </a:t>
                      </a:r>
                      <a:r>
                        <a:rPr lang="en-ZA" sz="950" b="1" u="none" strike="noStrike" baseline="0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 –  September 2018 </a:t>
                      </a:r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(R’000)</a:t>
                      </a:r>
                    </a:p>
                    <a:p>
                      <a:pPr algn="ctr" fontAlgn="t"/>
                      <a:r>
                        <a:rPr lang="en-ZA" sz="950" b="1" u="none" strike="noStrike" dirty="0">
                          <a:solidFill>
                            <a:schemeClr val="tx2"/>
                          </a:solidFill>
                          <a:effectLst/>
                          <a:latin typeface="+mn-lt"/>
                        </a:rPr>
                        <a:t>% spend </a:t>
                      </a:r>
                    </a:p>
                  </a:txBody>
                  <a:tcPr marL="6919" marR="6919" marT="6919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5353">
                <a:tc>
                  <a:txBody>
                    <a:bodyPr/>
                    <a:lstStyle/>
                    <a:p>
                      <a:pPr algn="l" fontAlgn="t"/>
                      <a:r>
                        <a:rPr lang="en-ZA" sz="1000" u="none" strike="noStrike" dirty="0">
                          <a:effectLst/>
                        </a:rPr>
                        <a:t> </a:t>
                      </a:r>
                      <a:endParaRPr lang="en-ZA" sz="1000" b="0" i="0" u="none" strike="noStrike" dirty="0">
                        <a:solidFill>
                          <a:srgbClr val="FF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3</a:t>
                      </a:r>
                    </a:p>
                  </a:txBody>
                  <a:tcPr marL="6919" marR="6919" marT="6919" marB="0"/>
                </a:tc>
                <a:tc gridSpan="7">
                  <a:txBody>
                    <a:bodyPr/>
                    <a:lstStyle/>
                    <a:p>
                      <a:pPr algn="l" fontAlgn="t"/>
                      <a:r>
                        <a:rPr lang="en-ZA" sz="1200" b="1" i="0" u="none" strike="noStrike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porate Governance</a:t>
                      </a:r>
                    </a:p>
                  </a:txBody>
                  <a:tcPr marL="6919" marR="6919" marT="6919" marB="0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endParaRPr lang="en-ZA" sz="1200" b="1" i="0" u="none" strike="noStrike" kern="1200" dirty="0">
                        <a:solidFill>
                          <a:srgbClr val="C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919" marR="6919" marT="6919" marB="0"/>
                </a:tc>
                <a:tc rowSpan="2">
                  <a:txBody>
                    <a:bodyPr/>
                    <a:lstStyle/>
                    <a:p>
                      <a:pPr algn="ctr" fontAlgn="t"/>
                      <a:r>
                        <a:rPr lang="en-ZA" sz="9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2 738</a:t>
                      </a:r>
                    </a:p>
                    <a:p>
                      <a:pPr algn="ctr" fontAlgn="t"/>
                      <a:r>
                        <a:rPr lang="en-ZA" sz="9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2 247</a:t>
                      </a:r>
                    </a:p>
                    <a:p>
                      <a:pPr algn="ctr" fontAlgn="t"/>
                      <a:r>
                        <a:rPr lang="en-ZA" sz="9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83745">
                <a:tc>
                  <a:txBody>
                    <a:bodyPr/>
                    <a:lstStyle/>
                    <a:p>
                      <a:pPr algn="l" fontAlgn="t"/>
                      <a:endParaRPr lang="en-ZA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.5</a:t>
                      </a:r>
                    </a:p>
                  </a:txBody>
                  <a:tcPr marL="6919" marR="6919" marT="6919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9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 of initiatives to</a:t>
                      </a:r>
                      <a:r>
                        <a:rPr lang="en-ZA" sz="900" b="0" u="none" strike="noStrike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pport the</a:t>
                      </a:r>
                      <a:r>
                        <a:rPr lang="en-ZA" sz="9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partments on the financial review framework</a:t>
                      </a:r>
                    </a:p>
                  </a:txBody>
                  <a:tcPr marL="171450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900" b="0" i="0" u="none" strike="noStrike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t"/>
                      <a:endParaRPr lang="en-ZA" sz="900" b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6919" marR="6919" marT="6919" marB="0" anchor="ctr"/>
                </a:tc>
                <a:extLst>
                  <a:ext uri="{0D108BD9-81ED-4DB2-BD59-A6C34878D82A}">
                    <a16:rowId xmlns:a16="http://schemas.microsoft.com/office/drawing/2014/main" val="1818057178"/>
                  </a:ext>
                </a:extLst>
              </a:tr>
            </a:tbl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384886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Risk for non-achievement of target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1092878"/>
          </a:xfrm>
        </p:spPr>
        <p:txBody>
          <a:bodyPr/>
          <a:lstStyle/>
          <a:p>
            <a:r>
              <a:rPr lang="en-ZA" dirty="0"/>
              <a:t>None as at end 2</a:t>
            </a:r>
            <a:r>
              <a:rPr lang="en-ZA" baseline="30000" dirty="0"/>
              <a:t>nd</a:t>
            </a:r>
            <a:r>
              <a:rPr lang="en-ZA" dirty="0"/>
              <a:t> quart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8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60670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4710274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260648"/>
            <a:ext cx="8597205" cy="559256"/>
          </a:xfrm>
        </p:spPr>
        <p:txBody>
          <a:bodyPr/>
          <a:lstStyle/>
          <a:p>
            <a:pPr algn="ctr"/>
            <a:r>
              <a:rPr lang="en-ZA" sz="1800" dirty="0"/>
              <a:t>Programme 1 – Administration: Expenditure as at 30 September 20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972556"/>
              </p:ext>
            </p:extLst>
          </p:nvPr>
        </p:nvGraphicFramePr>
        <p:xfrm>
          <a:off x="1200536" y="1484784"/>
          <a:ext cx="6786681" cy="22340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387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54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81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01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561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576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2837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2479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b-programme Name</a:t>
                      </a: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yment as at 30 September 2018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for 2018/19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ed Performance Outcome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9745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enditure to dat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ions to 31 March 2019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Expenditur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n budget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Over/Under)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ual spent as percentage of budget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7379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fice of the Minist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 86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 00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86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82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>
                          <a:latin typeface="+mj-lt"/>
                        </a:rPr>
                        <a:t>(39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>
                          <a:latin typeface="+mj-lt"/>
                        </a:rPr>
                        <a:t>4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7379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agement Service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80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 69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 5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 29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>
                          <a:latin typeface="+mj-lt"/>
                        </a:rPr>
                        <a:t>2</a:t>
                      </a:r>
                      <a:r>
                        <a:rPr lang="en-ZA" sz="1050" baseline="0" dirty="0">
                          <a:latin typeface="+mj-lt"/>
                        </a:rPr>
                        <a:t> 794</a:t>
                      </a:r>
                      <a:endParaRPr lang="en-ZA" sz="1050" dirty="0">
                        <a:latin typeface="+mj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>
                          <a:latin typeface="+mj-lt"/>
                        </a:rPr>
                        <a:t>4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7379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nancial Manage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1 77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3 08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86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5 03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50" dirty="0">
                          <a:latin typeface="+mj-lt"/>
                        </a:rPr>
                        <a:t>17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>
                          <a:latin typeface="+mj-lt"/>
                        </a:rPr>
                        <a:t>4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7379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 45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1 77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 23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1 16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67517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8597205" cy="559256"/>
          </a:xfrm>
        </p:spPr>
        <p:txBody>
          <a:bodyPr/>
          <a:lstStyle/>
          <a:p>
            <a:pPr algn="ctr"/>
            <a:br>
              <a:rPr lang="en-ZA" sz="1800" dirty="0"/>
            </a:br>
            <a:r>
              <a:rPr lang="en-ZA" sz="1800" dirty="0"/>
              <a:t>Programme 2 - Sustainable Resource Management: </a:t>
            </a:r>
            <a:br>
              <a:rPr lang="en-ZA" sz="1800" dirty="0"/>
            </a:br>
            <a:r>
              <a:rPr lang="en-ZA" sz="1800" dirty="0"/>
              <a:t>Expenditure as at 30 September 2018</a:t>
            </a:r>
            <a:br>
              <a:rPr lang="en-ZA" sz="1800" dirty="0">
                <a:solidFill>
                  <a:srgbClr val="000000"/>
                </a:solidFill>
                <a:latin typeface="Calibri"/>
              </a:rPr>
            </a:br>
            <a:endParaRPr lang="en-ZA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777754"/>
              </p:ext>
            </p:extLst>
          </p:nvPr>
        </p:nvGraphicFramePr>
        <p:xfrm>
          <a:off x="539552" y="1067547"/>
          <a:ext cx="8280920" cy="50977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178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08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05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244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244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829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10981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38913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 Name</a:t>
                      </a: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yment as at 30 September 2018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for 2018/19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ed Performance Outcome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617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enditure </a:t>
                      </a:r>
                    </a:p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 dat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ions to </a:t>
                      </a:r>
                    </a:p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1 March 2019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Expenditur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n budget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Over/</a:t>
                      </a:r>
                    </a:p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der)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ual spent as percentage of budget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8362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 Suppor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 80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25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 7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 054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 04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99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3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362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scal Policy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9 35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3 83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3</a:t>
                      </a:r>
                      <a:r>
                        <a:rPr lang="en-ZA" sz="10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 186</a:t>
                      </a:r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3 68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9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8362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dget Management :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 82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1 87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9 69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9 86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i="1" dirty="0"/>
                        <a:t>16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i="1" dirty="0"/>
                        <a:t>3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91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incial Government Budget Manage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 34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 35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 70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 73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3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3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91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 Government Budget Manage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47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 52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 99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 13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1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4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8362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ublic Finance :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 80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3 16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4 97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7 88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0" i="1" dirty="0"/>
                        <a:t>2 91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b="0" i="1" dirty="0"/>
                        <a:t>2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25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incial Government Financ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 18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 74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 92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 90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(23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8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91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 Government Finance Group 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07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 17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 25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 47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1 21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3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91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 Government Finance Group 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 65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2 28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5 94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6 37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3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8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8362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frastructur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 92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21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 14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 3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16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89136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usiness Information and Data Manage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96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 74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 70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1 82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/>
                        <a:t>1 114</a:t>
                      </a:r>
                      <a:endParaRPr lang="en-ZA" sz="1000" dirty="0"/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2422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 785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3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128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4 9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9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486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 57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24104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438" y="188640"/>
            <a:ext cx="8892481" cy="559256"/>
          </a:xfrm>
        </p:spPr>
        <p:txBody>
          <a:bodyPr/>
          <a:lstStyle/>
          <a:p>
            <a:br>
              <a:rPr lang="en-ZA" sz="1800" dirty="0"/>
            </a:br>
            <a:r>
              <a:rPr lang="en-ZA" sz="1800" dirty="0"/>
              <a:t>Programme 3 - Asset Management: Expenditure as at 30 September 2018</a:t>
            </a:r>
            <a:br>
              <a:rPr lang="en-ZA" dirty="0">
                <a:solidFill>
                  <a:srgbClr val="000000"/>
                </a:solidFill>
                <a:latin typeface="Calibri"/>
              </a:rPr>
            </a:b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6652320"/>
              </p:ext>
            </p:extLst>
          </p:nvPr>
        </p:nvGraphicFramePr>
        <p:xfrm>
          <a:off x="827585" y="1268760"/>
          <a:ext cx="7807695" cy="29331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11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34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67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1234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290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548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1562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740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 Name</a:t>
                      </a: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yment as at 30 September 2018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for 2018/19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ed Performance Outcome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214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enditure to dat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ions to 31 March 2019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Expenditur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n budget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Over/Under)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ual spent as percentage of budget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2694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 Suppor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 06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 63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 70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 49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7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31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5024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ly Chain Management :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 91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6 03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5 94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7 55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i="1" dirty="0"/>
                        <a:t>1 6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i="1" dirty="0"/>
                        <a:t>3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8093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incial Government Supply Chain Manage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 08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2 36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9 45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9 92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36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8093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 Government Supply Chain Managemen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 82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 66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 49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 62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1 13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3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7710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pporting &amp; Interlinked</a:t>
                      </a:r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inancial System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3 24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8 02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 26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 481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21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5024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 230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5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686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 91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2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524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 6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21415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8856984" cy="559256"/>
          </a:xfrm>
        </p:spPr>
        <p:txBody>
          <a:bodyPr/>
          <a:lstStyle/>
          <a:p>
            <a:br>
              <a:rPr lang="en-ZA" sz="1800" dirty="0"/>
            </a:br>
            <a:r>
              <a:rPr lang="en-ZA" sz="1800" dirty="0"/>
              <a:t>Programme 4 - Financial Governance: Expenditure as at 30 September 2018</a:t>
            </a:r>
            <a:br>
              <a:rPr lang="en-ZA" sz="1800" dirty="0">
                <a:solidFill>
                  <a:srgbClr val="000000"/>
                </a:solidFill>
                <a:latin typeface="Calibri"/>
              </a:rPr>
            </a:br>
            <a:endParaRPr lang="en-ZA" sz="1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5724595"/>
              </p:ext>
            </p:extLst>
          </p:nvPr>
        </p:nvGraphicFramePr>
        <p:xfrm>
          <a:off x="611559" y="1268760"/>
          <a:ext cx="8020232" cy="295457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3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79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12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0163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292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716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40900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18037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 Name</a:t>
                      </a: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ayment as at 30 September 2018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for 2018/19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ed Performance Outcome</a:t>
                      </a: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1127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penditure to dat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ections to 31 March 2019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 Expenditure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n budget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Over/Under)</a:t>
                      </a:r>
                    </a:p>
                    <a:p>
                      <a:pPr algn="ctr" fontAlgn="ctr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’0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ual spent as percentage of budget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6480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me Suppor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08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43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 52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 03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51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6480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counting Services :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 73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1 94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 67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 442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i="1" dirty="0"/>
                        <a:t>(235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i="1" dirty="0"/>
                        <a:t>43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751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vincial Government Accounting and Complianc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920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 22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1 14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 98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(165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5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6480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l Government Accountin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 81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 714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 52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 459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(70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40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6480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rporate Governanc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 756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 517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1 273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2 738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1 46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000" dirty="0"/>
                        <a:t>37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6480">
                <a:tc>
                  <a:txBody>
                    <a:bodyPr/>
                    <a:lstStyle/>
                    <a:p>
                      <a:pPr algn="l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7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579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2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896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 475</a:t>
                      </a: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2</a:t>
                      </a:r>
                      <a:r>
                        <a:rPr lang="en-ZA" sz="10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219</a:t>
                      </a:r>
                      <a:endParaRPr lang="en-ZA" sz="10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 74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%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36732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algn="ctr"/>
            <a:r>
              <a:rPr lang="en-GB" b="1" dirty="0"/>
              <a:t>Non-Financial performan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006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10" name="AutoShape 3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3849" y="194142"/>
            <a:ext cx="8568631" cy="548124"/>
          </a:xfrm>
          <a:prstGeom prst="homePlate">
            <a:avLst>
              <a:gd name="adj" fmla="val 27834"/>
            </a:avLst>
          </a:prstGeom>
          <a:solidFill>
            <a:schemeClr val="tx2"/>
          </a:solidFill>
          <a:ln w="12700">
            <a:noFill/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GB" sz="2800" b="1" dirty="0">
                <a:solidFill>
                  <a:schemeClr val="bg1"/>
                </a:solidFill>
              </a:rPr>
              <a:t>OVERVIEW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76885" y="1196752"/>
            <a:ext cx="8568629" cy="482453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2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endParaRPr lang="en-ZA" dirty="0">
              <a:solidFill>
                <a:schemeClr val="tx1"/>
              </a:solidFill>
              <a:latin typeface="Century Gothic" pitchFamily="34" charset="0"/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endParaRPr lang="en-ZA" dirty="0">
              <a:solidFill>
                <a:schemeClr val="tx1"/>
              </a:solidFill>
              <a:latin typeface="Century Gothic" pitchFamily="34" charset="0"/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ZA" dirty="0">
                <a:solidFill>
                  <a:schemeClr val="tx1"/>
                </a:solidFill>
                <a:latin typeface="Century Gothic" pitchFamily="34" charset="0"/>
              </a:rPr>
              <a:t> </a:t>
            </a:r>
            <a:r>
              <a:rPr lang="en-ZA" b="1" dirty="0">
                <a:solidFill>
                  <a:schemeClr val="tx1"/>
                </a:solidFill>
                <a:latin typeface="Century Gothic" pitchFamily="34" charset="0"/>
              </a:rPr>
              <a:t>The Department submitted their 2</a:t>
            </a:r>
            <a:r>
              <a:rPr lang="en-ZA" b="1" baseline="30000" dirty="0">
                <a:solidFill>
                  <a:schemeClr val="tx1"/>
                </a:solidFill>
                <a:latin typeface="Century Gothic" pitchFamily="34" charset="0"/>
              </a:rPr>
              <a:t>nd</a:t>
            </a:r>
            <a:r>
              <a:rPr lang="en-ZA" b="1" dirty="0">
                <a:solidFill>
                  <a:schemeClr val="tx1"/>
                </a:solidFill>
                <a:latin typeface="Century Gothic" pitchFamily="34" charset="0"/>
              </a:rPr>
              <a:t> Quarter report complying with the DPME submission date. </a:t>
            </a:r>
          </a:p>
          <a:p>
            <a:pPr marL="0" lvl="1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ZA" b="1" dirty="0">
              <a:solidFill>
                <a:schemeClr val="tx1"/>
              </a:solidFill>
              <a:latin typeface="Century Gothic" pitchFamily="34" charset="0"/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ZA" b="1" dirty="0">
                <a:solidFill>
                  <a:schemeClr val="tx1"/>
                </a:solidFill>
              </a:rPr>
              <a:t> Forty Seven (47) 2</a:t>
            </a:r>
            <a:r>
              <a:rPr lang="en-ZA" b="1" baseline="30000" dirty="0">
                <a:solidFill>
                  <a:schemeClr val="tx1"/>
                </a:solidFill>
              </a:rPr>
              <a:t>nd</a:t>
            </a:r>
            <a:r>
              <a:rPr lang="en-ZA" b="1" dirty="0">
                <a:solidFill>
                  <a:schemeClr val="tx1"/>
                </a:solidFill>
              </a:rPr>
              <a:t> quarter targets were planned, of which  Forty Four (44) targets were achieved. </a:t>
            </a:r>
          </a:p>
          <a:p>
            <a:pPr marL="0" lvl="1" indent="0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ZA" b="1" dirty="0">
              <a:solidFill>
                <a:schemeClr val="tx1"/>
              </a:solidFill>
              <a:latin typeface="Century Gothic" pitchFamily="34" charset="0"/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r>
              <a:rPr lang="en-ZA" b="1" dirty="0">
                <a:solidFill>
                  <a:schemeClr val="tx1"/>
                </a:solidFill>
              </a:rPr>
              <a:t> Overall achievement of ninety four per cent (94%) for the 2</a:t>
            </a:r>
            <a:r>
              <a:rPr lang="en-ZA" b="1" baseline="30000" dirty="0">
                <a:solidFill>
                  <a:schemeClr val="tx1"/>
                </a:solidFill>
              </a:rPr>
              <a:t>nd</a:t>
            </a:r>
            <a:r>
              <a:rPr lang="en-ZA" b="1" dirty="0">
                <a:solidFill>
                  <a:schemeClr val="tx1"/>
                </a:solidFill>
              </a:rPr>
              <a:t> quarter.  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</a:pPr>
            <a:endParaRPr lang="en-ZA" b="1" dirty="0">
              <a:solidFill>
                <a:schemeClr val="tx1"/>
              </a:solidFill>
            </a:endParaRPr>
          </a:p>
          <a:p>
            <a:pPr lvl="1">
              <a:spcBef>
                <a:spcPts val="300"/>
              </a:spcBef>
              <a:buClr>
                <a:srgbClr val="002060"/>
              </a:buClr>
              <a:buBlip>
                <a:blip r:embed="rId5"/>
              </a:buBlip>
            </a:pPr>
            <a:r>
              <a:rPr lang="en-ZA" b="1" dirty="0">
                <a:solidFill>
                  <a:srgbClr val="000000"/>
                </a:solidFill>
              </a:rPr>
              <a:t> Three (3) target or (</a:t>
            </a:r>
            <a:r>
              <a:rPr lang="en-ZA" b="1" dirty="0">
                <a:solidFill>
                  <a:schemeClr val="tx1"/>
                </a:solidFill>
              </a:rPr>
              <a:t>6%) </a:t>
            </a:r>
            <a:r>
              <a:rPr lang="en-ZA" b="1" dirty="0">
                <a:solidFill>
                  <a:srgbClr val="000000"/>
                </a:solidFill>
              </a:rPr>
              <a:t>of targets were partially achieved. </a:t>
            </a: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5"/>
              </a:buBlip>
            </a:pPr>
            <a:endParaRPr lang="en-ZA" b="1" dirty="0">
              <a:solidFill>
                <a:schemeClr val="tx1"/>
              </a:solidFill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</a:pPr>
            <a:endParaRPr lang="en-ZA" b="1" dirty="0">
              <a:solidFill>
                <a:schemeClr val="tx1"/>
              </a:solidFill>
            </a:endParaRPr>
          </a:p>
          <a:p>
            <a:pPr lvl="1" fontAlgn="auto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</a:pPr>
            <a:endParaRPr lang="en-ZA" b="1" dirty="0">
              <a:solidFill>
                <a:schemeClr val="tx1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SCOF PROVINCIAL TREASURY 2</a:t>
            </a:r>
            <a:r>
              <a:rPr lang="en-US" baseline="30000" dirty="0"/>
              <a:t>nd</a:t>
            </a:r>
            <a:r>
              <a:rPr lang="en-US" dirty="0"/>
              <a:t> QPR 2018/19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5787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14:prism isContent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89bmk0SOuza7NbvIp48mwknZhZugPkej9McoZlrF0LH114aQh/imDAP2NeJNAH0+ocS0FzrPdx/bpsH7fYUafyb0NKtAqdNS0Zp5LGNZkI8z2QCdP7QNG9h6AjGOASBr5rOkt+wz7V+HwedJjL+GK+cLh1y2HMUs9IqKTH0qSn8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6NGney/hR6Pwh8XK/HKZKkkBeE/qq3RA"/>
  <p:tag name="SMARTBOX_SB8" val="8V0NmstvMVxuyH9VaqZIeQ=="/>
  <p:tag name="SMARTBOX_SB7" val="LW/zzUFL7qSY/kPmqNiMig==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zORFoegztV/FRUlVyzPdX3X5NtZj2wb0"/>
  <p:tag name="SMARTBOX_SB8" val="xXkwasDwfUFiohzI5o/A6Q=="/>
  <p:tag name="SMARTBOX_SB7" val="PmRzPBY52+qDmOm+RVwZYw==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zORFoegztV/FRUlVyzPdX3X5NtZj2wb0"/>
  <p:tag name="SMARTBOX_SB8" val="xXkwasDwfUFiohzI5o/A6Q=="/>
  <p:tag name="SMARTBOX_SB7" val="PmRzPBY52+qDmOm+RVwZYw==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zORFoegztV/FRUlVyzPdX3X5NtZj2wb0"/>
  <p:tag name="SMARTBOX_SB8" val="xXkwasDwfUFiohzI5o/A6Q=="/>
  <p:tag name="SMARTBOX_SB7" val="PmRzPBY52+qDmOm+RVwZYw==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zORFoegztV/FRUlVyzPdX3X5NtZj2wb0"/>
  <p:tag name="SMARTBOX_SB8" val="xXkwasDwfUFiohzI5o/A6Q=="/>
  <p:tag name="SMARTBOX_SB7" val="PmRzPBY52+qDmOm+RVwZYw==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DJIK_TYPE" val="HeaderBoxCaption"/>
  <p:tag name="MADJIK_PARAMETERS" val="&lt;?xml version=&quot;1.0&quot; encoding=&quot;utf-16&quot;?&gt;&#10;&lt;ShapeParameter xmlns:xsi=&quot;http://www.w3.org/2001/XMLSchema-instance&quot; xmlns:xsd=&quot;http://www.w3.org/2001/XMLSchema&quot; KeepRatioWithChild=&quot;false&quot; AutoNumberHeader=&quot;None&quot; OverlappingArea=&quot;0&quot; KeepShapeRadius=&quot;Left&quot; Alignment=&quot;None&quot; AlternateColor=&quot;false&quot; TableStyle=&quot;0&quot; SlideID=&quot;-1&quot; Color=&quot;0&quot; /&gt;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heme/theme1.xml><?xml version="1.0" encoding="utf-8"?>
<a:theme xmlns:a="http://schemas.openxmlformats.org/drawingml/2006/main" name="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WCG-Provincial Treasury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CG-Provincial Treasury-New PPT Master-01112012</Template>
  <TotalTime>25181</TotalTime>
  <Words>4304</Words>
  <Application>Microsoft Office PowerPoint</Application>
  <PresentationFormat>On-screen Show (4:3)</PresentationFormat>
  <Paragraphs>1640</Paragraphs>
  <Slides>39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50" baseType="lpstr">
      <vt:lpstr>Arial</vt:lpstr>
      <vt:lpstr>Arial Narrow</vt:lpstr>
      <vt:lpstr>Calibri</vt:lpstr>
      <vt:lpstr>Century Gothic</vt:lpstr>
      <vt:lpstr>Times New Roman</vt:lpstr>
      <vt:lpstr>WCG-Provincial Treasury-New PPT Master-01112012</vt:lpstr>
      <vt:lpstr>Western Cape Government Master Template</vt:lpstr>
      <vt:lpstr>1_WCG-Provincial Treasury-New PPT Master-01112012</vt:lpstr>
      <vt:lpstr>WCG-PPT Master-121022-amc</vt:lpstr>
      <vt:lpstr>1_WCG-PPT Master-121022-amc</vt:lpstr>
      <vt:lpstr>think-cell Slide</vt:lpstr>
      <vt:lpstr>    2nd  Quarter performance report</vt:lpstr>
      <vt:lpstr>PowerPoint Presentation</vt:lpstr>
      <vt:lpstr> Vote 3 – Provincial Treasury:  Expenditure as at 30 September 2018 </vt:lpstr>
      <vt:lpstr>Programme 1 – Administration: Expenditure as at 30 September 2018</vt:lpstr>
      <vt:lpstr> Programme 2 - Sustainable Resource Management:  Expenditure as at 30 September 2018 </vt:lpstr>
      <vt:lpstr> Programme 3 - Asset Management: Expenditure as at 30 September 2018 </vt:lpstr>
      <vt:lpstr> Programme 4 - Financial Governance: Expenditure as at 30 September 2018 </vt:lpstr>
      <vt:lpstr>PowerPoint Presentation</vt:lpstr>
      <vt:lpstr>PowerPoint Presentation</vt:lpstr>
      <vt:lpstr>PowerPoint Presentation</vt:lpstr>
      <vt:lpstr> PROGRAMME 1 PERFORMANCE  -  ADMINISTRATION </vt:lpstr>
      <vt:lpstr> PROGRAMME 2 PERFORMANCE - SUSTAINABLE RESOURCE MANAGENT </vt:lpstr>
      <vt:lpstr> PROGRAMME 3 PERFORMANCE – Asset Management </vt:lpstr>
      <vt:lpstr> PROGRAMME 4 PERFORMANCE -   FINANCIAL GOVERNANC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isk for non-achievement of targets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RATIONAL PLANS 2014/15</dc:title>
  <dc:creator>Cindy-Leigh Gardner</dc:creator>
  <cp:keywords>POTX</cp:keywords>
  <cp:lastModifiedBy>Nobukhosi Ndlela</cp:lastModifiedBy>
  <cp:revision>551</cp:revision>
  <cp:lastPrinted>2017-10-17T08:43:40Z</cp:lastPrinted>
  <dcterms:created xsi:type="dcterms:W3CDTF">2014-02-14T07:21:05Z</dcterms:created>
  <dcterms:modified xsi:type="dcterms:W3CDTF">2018-11-12T12:42:27Z</dcterms:modified>
  <cp:category>CI</cp:category>
</cp:coreProperties>
</file>